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15"/>
  </p:notesMasterIdLst>
  <p:sldIdLst>
    <p:sldId id="303" r:id="rId5"/>
    <p:sldId id="3876" r:id="rId6"/>
    <p:sldId id="3886" r:id="rId7"/>
    <p:sldId id="3889" r:id="rId8"/>
    <p:sldId id="3890" r:id="rId9"/>
    <p:sldId id="3888" r:id="rId10"/>
    <p:sldId id="3891" r:id="rId11"/>
    <p:sldId id="3893" r:id="rId12"/>
    <p:sldId id="3887" r:id="rId13"/>
    <p:sldId id="389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108949-F49F-D0F9-EFB8-8E7688ABE62E}" name="Kumar, Nitish" initials="KN" userId="S::nitishkumar44@deloitte.com::a8398cf0-a0f8-4fd6-ac2e-c367d0f58972" providerId="AD"/>
  <p188:author id="{46D126CD-EA8D-23E1-BF8F-4553E81F1A84}" name="Zalavadia, Parth" initials="ZP" userId="S::pjagdishzalavadia@deloitte.com::f6ed9717-0e3e-4b6f-b56b-4d9d3d94e88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il, Rishikesh" initials="PR" lastIdx="1" clrIdx="0">
    <p:extLst>
      <p:ext uri="{19B8F6BF-5375-455C-9EA6-DF929625EA0E}">
        <p15:presenceInfo xmlns:p15="http://schemas.microsoft.com/office/powerpoint/2012/main" userId="S::rispatil@deloitte.com::91fb0937-f308-4d4e-a989-225965ece6b2" providerId="AD"/>
      </p:ext>
    </p:extLst>
  </p:cmAuthor>
  <p:cmAuthor id="2" name="Bishop, Grant" initials="BG" lastIdx="45" clrIdx="1">
    <p:extLst>
      <p:ext uri="{19B8F6BF-5375-455C-9EA6-DF929625EA0E}">
        <p15:presenceInfo xmlns:p15="http://schemas.microsoft.com/office/powerpoint/2012/main" userId="S::grbishop@deloitte.com::aa3ff02a-682a-4bc5-9b2d-c30961aa31e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6FC0"/>
    <a:srgbClr val="F5AE67"/>
    <a:srgbClr val="E87A30"/>
    <a:srgbClr val="671E7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27D622-E084-5F87-3F66-0D268ED19438}" v="157" dt="2025-09-19T10:51:57.316"/>
    <p1510:client id="{443CA4BF-4951-92CD-E126-355F5A6013F8}" v="13" dt="2025-09-19T16:38:18.842"/>
    <p1510:client id="{4D833E04-240E-5841-6FB6-A92A5CE6B634}" v="409" dt="2025-09-19T14:25:35.701"/>
    <p1510:client id="{501E042A-AD9B-36AA-85D1-7A9608572AB1}" v="237" dt="2025-09-19T16:53:22.145"/>
    <p1510:client id="{6770902D-5B8A-257B-8106-110C904C2916}" v="617" dt="2025-09-19T14:50:01.006"/>
    <p1510:client id="{9A3B3378-AFD1-C8C0-9DED-5B9B9C87F0DB}" v="10" dt="2025-09-19T14:08:01.779"/>
    <p1510:client id="{AD73713D-5569-7E70-27D4-E03B242A2BD6}" v="29" dt="2025-09-19T14:31:08.727"/>
    <p1510:client id="{C2C87B0B-F499-E678-BC24-012D161C1612}" v="138" dt="2025-09-19T11:50:24.760"/>
    <p1510:client id="{C5A27E75-AD45-498A-A9A6-800742BBA009}" v="9" dt="2025-09-19T14:12:35.917"/>
    <p1510:client id="{EDF3B5DC-0892-D6D8-950B-3931DF40C2B2}" v="116" dt="2025-09-19T12:28:02.677"/>
    <p1510:client id="{F8A60EF5-365B-5BD0-B269-680BA9533273}" v="101" dt="2025-09-19T14:04:24.1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58" d="100"/>
          <a:sy n="58" d="100"/>
        </p:scale>
        <p:origin x="964" y="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i, Bharti" userId="S::bharkumari@deloitte.com::dbcf7062-8abc-4798-a94e-65fc4c7fd4fe" providerId="AD" clId="Web-{58A96723-4B9B-8674-AB2A-08F16C0F5814}"/>
    <pc:docChg chg="modSld">
      <pc:chgData name="Kumari, Bharti" userId="S::bharkumari@deloitte.com::dbcf7062-8abc-4798-a94e-65fc4c7fd4fe" providerId="AD" clId="Web-{58A96723-4B9B-8674-AB2A-08F16C0F5814}" dt="2025-08-22T10:58:29.238" v="705"/>
      <pc:docMkLst>
        <pc:docMk/>
      </pc:docMkLst>
      <pc:sldChg chg="addSp delSp modSp">
        <pc:chgData name="Kumari, Bharti" userId="S::bharkumari@deloitte.com::dbcf7062-8abc-4798-a94e-65fc4c7fd4fe" providerId="AD" clId="Web-{58A96723-4B9B-8674-AB2A-08F16C0F5814}" dt="2025-08-22T10:58:29.238" v="705"/>
        <pc:sldMkLst>
          <pc:docMk/>
          <pc:sldMk cId="3294538823" sldId="3890"/>
        </pc:sldMkLst>
        <pc:graphicFrameChg chg="mod modGraphic">
          <ac:chgData name="Kumari, Bharti" userId="S::bharkumari@deloitte.com::dbcf7062-8abc-4798-a94e-65fc4c7fd4fe" providerId="AD" clId="Web-{58A96723-4B9B-8674-AB2A-08F16C0F5814}" dt="2025-08-22T10:58:29.238" v="705"/>
          <ac:graphicFrameMkLst>
            <pc:docMk/>
            <pc:sldMk cId="3294538823" sldId="3890"/>
            <ac:graphicFrameMk id="67" creationId="{83BFA58D-6180-4B4C-B228-A4B00ADD0108}"/>
          </ac:graphicFrameMkLst>
        </pc:graphicFrameChg>
      </pc:sldChg>
    </pc:docChg>
  </pc:docChgLst>
  <pc:docChgLst>
    <pc:chgData name="Kumar, M Pavan" userId="S::mpavkumar@deloitte.com::c57e25e4-4624-4003-81ff-e96fcf3c5b4e" providerId="AD" clId="Web-{443CA4BF-4951-92CD-E126-355F5A6013F8}"/>
    <pc:docChg chg="modSld">
      <pc:chgData name="Kumar, M Pavan" userId="S::mpavkumar@deloitte.com::c57e25e4-4624-4003-81ff-e96fcf3c5b4e" providerId="AD" clId="Web-{443CA4BF-4951-92CD-E126-355F5A6013F8}" dt="2025-09-19T16:38:17.217" v="10"/>
      <pc:docMkLst>
        <pc:docMk/>
      </pc:docMkLst>
      <pc:sldChg chg="modSp">
        <pc:chgData name="Kumar, M Pavan" userId="S::mpavkumar@deloitte.com::c57e25e4-4624-4003-81ff-e96fcf3c5b4e" providerId="AD" clId="Web-{443CA4BF-4951-92CD-E126-355F5A6013F8}" dt="2025-09-19T16:38:17.217" v="10"/>
        <pc:sldMkLst>
          <pc:docMk/>
          <pc:sldMk cId="954418879" sldId="3889"/>
        </pc:sldMkLst>
        <pc:graphicFrameChg chg="mod modGraphic">
          <ac:chgData name="Kumar, M Pavan" userId="S::mpavkumar@deloitte.com::c57e25e4-4624-4003-81ff-e96fcf3c5b4e" providerId="AD" clId="Web-{443CA4BF-4951-92CD-E126-355F5A6013F8}" dt="2025-09-19T16:38:17.217" v="10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Priyanka Pravallika, Adari" userId="S::apriyankapravalli@deloitte.com::3e98232f-5852-4827-a166-c8c4c369b4ab" providerId="AD" clId="Web-{99815975-8A36-DDE2-7533-F38D4E7BCE86}"/>
    <pc:docChg chg="modSld">
      <pc:chgData name="Priyanka Pravallika, Adari" userId="S::apriyankapravalli@deloitte.com::3e98232f-5852-4827-a166-c8c4c369b4ab" providerId="AD" clId="Web-{99815975-8A36-DDE2-7533-F38D4E7BCE86}" dt="2025-09-12T15:16:22.431" v="97"/>
      <pc:docMkLst>
        <pc:docMk/>
      </pc:docMkLst>
      <pc:sldChg chg="modSp">
        <pc:chgData name="Priyanka Pravallika, Adari" userId="S::apriyankapravalli@deloitte.com::3e98232f-5852-4827-a166-c8c4c369b4ab" providerId="AD" clId="Web-{99815975-8A36-DDE2-7533-F38D4E7BCE86}" dt="2025-09-12T15:16:22.431" v="97"/>
        <pc:sldMkLst>
          <pc:docMk/>
          <pc:sldMk cId="196803840" sldId="3888"/>
        </pc:sldMkLst>
        <pc:graphicFrameChg chg="mod modGraphic">
          <ac:chgData name="Priyanka Pravallika, Adari" userId="S::apriyankapravalli@deloitte.com::3e98232f-5852-4827-a166-c8c4c369b4ab" providerId="AD" clId="Web-{99815975-8A36-DDE2-7533-F38D4E7BCE86}" dt="2025-09-12T15:13:17.553" v="9"/>
          <ac:graphicFrameMkLst>
            <pc:docMk/>
            <pc:sldMk cId="196803840" sldId="3888"/>
            <ac:graphicFrameMk id="3" creationId="{48106A3D-C011-2028-4E94-1FC5DD665B85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99815975-8A36-DDE2-7533-F38D4E7BCE86}" dt="2025-09-12T15:16:22.431" v="97"/>
          <ac:graphicFrameMkLst>
            <pc:docMk/>
            <pc:sldMk cId="196803840" sldId="3888"/>
            <ac:graphicFrameMk id="4" creationId="{CCD0D33A-8DEE-3B9D-AAFA-5A4F1BB92703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99815975-8A36-DDE2-7533-F38D4E7BCE86}" dt="2025-09-12T15:15:17.055" v="85"/>
          <ac:graphicFrameMkLst>
            <pc:docMk/>
            <pc:sldMk cId="196803840" sldId="3888"/>
            <ac:graphicFrameMk id="67" creationId="{83BFA58D-6180-4B4C-B228-A4B00ADD0108}"/>
          </ac:graphicFrameMkLst>
        </pc:graphicFrameChg>
      </pc:sldChg>
    </pc:docChg>
  </pc:docChgLst>
  <pc:docChgLst>
    <pc:chgData name="Kaur, Lavleen" userId="S::lakaur@deloitte.com::b04da0c8-555c-4d7e-b503-81557370cd27" providerId="AD" clId="Web-{85F25620-96BE-CB66-3FB0-04EA8201EA70}"/>
    <pc:docChg chg="modSld">
      <pc:chgData name="Kaur, Lavleen" userId="S::lakaur@deloitte.com::b04da0c8-555c-4d7e-b503-81557370cd27" providerId="AD" clId="Web-{85F25620-96BE-CB66-3FB0-04EA8201EA70}" dt="2025-09-05T17:31:03.198" v="359"/>
      <pc:docMkLst>
        <pc:docMk/>
      </pc:docMkLst>
    </pc:docChg>
  </pc:docChgLst>
  <pc:docChgLst>
    <pc:chgData name="Malpani, Harshit" userId="S::hamalpani@deloitte.com::2887dbfd-fa65-409d-a870-0e8a99c5122e" providerId="AD" clId="Web-{4D833E04-240E-5841-6FB6-A92A5CE6B634}"/>
    <pc:docChg chg="modSld">
      <pc:chgData name="Malpani, Harshit" userId="S::hamalpani@deloitte.com::2887dbfd-fa65-409d-a870-0e8a99c5122e" providerId="AD" clId="Web-{4D833E04-240E-5841-6FB6-A92A5CE6B634}" dt="2025-09-19T14:25:33.935" v="393"/>
      <pc:docMkLst>
        <pc:docMk/>
      </pc:docMkLst>
      <pc:sldChg chg="modSp">
        <pc:chgData name="Malpani, Harshit" userId="S::hamalpani@deloitte.com::2887dbfd-fa65-409d-a870-0e8a99c5122e" providerId="AD" clId="Web-{4D833E04-240E-5841-6FB6-A92A5CE6B634}" dt="2025-09-19T14:25:33.935" v="393"/>
        <pc:sldMkLst>
          <pc:docMk/>
          <pc:sldMk cId="954418879" sldId="3889"/>
        </pc:sldMkLst>
        <pc:graphicFrameChg chg="mod modGraphic">
          <ac:chgData name="Malpani, Harshit" userId="S::hamalpani@deloitte.com::2887dbfd-fa65-409d-a870-0e8a99c5122e" providerId="AD" clId="Web-{4D833E04-240E-5841-6FB6-A92A5CE6B634}" dt="2025-09-19T14:25:33.935" v="393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clId="Web-{D8AB90DF-2E9E-D1A5-FA5A-8A29A1E2EF61}"/>
    <pc:docChg chg="modSld">
      <pc:chgData name="" userId="" providerId="" clId="Web-{D8AB90DF-2E9E-D1A5-FA5A-8A29A1E2EF61}" dt="2025-08-29T14:33:03.095" v="11"/>
      <pc:docMkLst>
        <pc:docMk/>
      </pc:docMkLst>
      <pc:sldChg chg="modSp">
        <pc:chgData name="" userId="" providerId="" clId="Web-{D8AB90DF-2E9E-D1A5-FA5A-8A29A1E2EF61}" dt="2025-08-29T14:33:03.095" v="11"/>
        <pc:sldMkLst>
          <pc:docMk/>
          <pc:sldMk cId="1767971940" sldId="3886"/>
        </pc:sldMkLst>
        <pc:graphicFrameChg chg="mod modGraphic">
          <ac:chgData name="" userId="" providerId="" clId="Web-{D8AB90DF-2E9E-D1A5-FA5A-8A29A1E2EF61}" dt="2025-08-29T14:33:03.095" v="11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Paul, J" userId="S::jpaul4@deloitte.com::fa19b70c-0ec3-4816-bf57-7b8eea7e8539" providerId="AD" clId="Web-{55F418B1-2F7A-B321-051B-6FD29A5EEF1C}"/>
    <pc:docChg chg="modSld">
      <pc:chgData name="Paul, J" userId="S::jpaul4@deloitte.com::fa19b70c-0ec3-4816-bf57-7b8eea7e8539" providerId="AD" clId="Web-{55F418B1-2F7A-B321-051B-6FD29A5EEF1C}" dt="2025-09-12T10:09:26.046" v="79"/>
      <pc:docMkLst>
        <pc:docMk/>
      </pc:docMkLst>
    </pc:docChg>
  </pc:docChgLst>
  <pc:docChgLst>
    <pc:chgData name="Kumari, Bharti" userId="S::bharkumari@deloitte.com::dbcf7062-8abc-4798-a94e-65fc4c7fd4fe" providerId="AD" clId="Web-{B38ED6AF-890E-5953-28C0-DD6216E970F3}"/>
    <pc:docChg chg="modSld">
      <pc:chgData name="Kumari, Bharti" userId="S::bharkumari@deloitte.com::dbcf7062-8abc-4798-a94e-65fc4c7fd4fe" providerId="AD" clId="Web-{B38ED6AF-890E-5953-28C0-DD6216E970F3}" dt="2025-09-05T10:10:13.390" v="439"/>
      <pc:docMkLst>
        <pc:docMk/>
      </pc:docMkLst>
      <pc:sldChg chg="modSp">
        <pc:chgData name="Kumari, Bharti" userId="S::bharkumari@deloitte.com::dbcf7062-8abc-4798-a94e-65fc4c7fd4fe" providerId="AD" clId="Web-{B38ED6AF-890E-5953-28C0-DD6216E970F3}" dt="2025-09-05T10:10:13.390" v="439"/>
        <pc:sldMkLst>
          <pc:docMk/>
          <pc:sldMk cId="3294538823" sldId="3890"/>
        </pc:sldMkLst>
        <pc:graphicFrameChg chg="mod modGraphic">
          <ac:chgData name="Kumari, Bharti" userId="S::bharkumari@deloitte.com::dbcf7062-8abc-4798-a94e-65fc4c7fd4fe" providerId="AD" clId="Web-{B38ED6AF-890E-5953-28C0-DD6216E970F3}" dt="2025-09-05T10:10:13.390" v="439"/>
          <ac:graphicFrameMkLst>
            <pc:docMk/>
            <pc:sldMk cId="3294538823" sldId="3890"/>
            <ac:graphicFrameMk id="67" creationId="{83BFA58D-6180-4B4C-B228-A4B00ADD0108}"/>
          </ac:graphicFrameMkLst>
        </pc:graphicFrameChg>
      </pc:sldChg>
    </pc:docChg>
  </pc:docChgLst>
  <pc:docChgLst>
    <pc:chgData name="Billhartz, Blake" userId="S::bbillhartz@deloitte.com::50c5c7d3-36b2-4545-ac1f-6059d0268d1a" providerId="AD" clId="Web-{8C74AAFC-7D9D-9713-4991-96DBF84389E8}"/>
    <pc:docChg chg="modSld">
      <pc:chgData name="Billhartz, Blake" userId="S::bbillhartz@deloitte.com::50c5c7d3-36b2-4545-ac1f-6059d0268d1a" providerId="AD" clId="Web-{8C74AAFC-7D9D-9713-4991-96DBF84389E8}" dt="2025-08-22T17:26:10.278" v="0"/>
      <pc:docMkLst>
        <pc:docMk/>
      </pc:docMkLst>
      <pc:sldChg chg="delSp">
        <pc:chgData name="Billhartz, Blake" userId="S::bbillhartz@deloitte.com::50c5c7d3-36b2-4545-ac1f-6059d0268d1a" providerId="AD" clId="Web-{8C74AAFC-7D9D-9713-4991-96DBF84389E8}" dt="2025-08-22T17:26:10.278" v="0"/>
        <pc:sldMkLst>
          <pc:docMk/>
          <pc:sldMk cId="3552024807" sldId="3876"/>
        </pc:sldMkLst>
      </pc:sldChg>
    </pc:docChg>
  </pc:docChgLst>
  <pc:docChgLst>
    <pc:chgData name="Gupta, Tanu" userId="4974e56d-c64b-4d79-9c56-1c72db121f1c" providerId="ADAL" clId="{4EC4EAB1-F7A3-4389-A8EA-365C380B35D5}"/>
    <pc:docChg chg="undo custSel modSld">
      <pc:chgData name="Gupta, Tanu" userId="4974e56d-c64b-4d79-9c56-1c72db121f1c" providerId="ADAL" clId="{4EC4EAB1-F7A3-4389-A8EA-365C380B35D5}" dt="2025-09-05T12:38:36.175" v="597" actId="14100"/>
      <pc:docMkLst>
        <pc:docMk/>
      </pc:docMkLst>
      <pc:sldChg chg="modSp mod">
        <pc:chgData name="Gupta, Tanu" userId="4974e56d-c64b-4d79-9c56-1c72db121f1c" providerId="ADAL" clId="{4EC4EAB1-F7A3-4389-A8EA-365C380B35D5}" dt="2025-09-05T12:38:36.175" v="597" actId="14100"/>
        <pc:sldMkLst>
          <pc:docMk/>
          <pc:sldMk cId="4212219609" sldId="3891"/>
        </pc:sldMkLst>
        <pc:graphicFrameChg chg="modGraphic">
          <ac:chgData name="Gupta, Tanu" userId="4974e56d-c64b-4d79-9c56-1c72db121f1c" providerId="ADAL" clId="{4EC4EAB1-F7A3-4389-A8EA-365C380B35D5}" dt="2025-09-05T12:38:36.175" v="597" actId="14100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Gupta, Tanu" userId="S::tgupta10@deloitte.com::4974e56d-c64b-4d79-9c56-1c72db121f1c" providerId="AD" clId="Web-{F9DCC12A-8422-533A-627F-CA64C0FF18DB}"/>
    <pc:docChg chg="modSld">
      <pc:chgData name="Gupta, Tanu" userId="S::tgupta10@deloitte.com::4974e56d-c64b-4d79-9c56-1c72db121f1c" providerId="AD" clId="Web-{F9DCC12A-8422-533A-627F-CA64C0FF18DB}" dt="2025-08-22T13:58:02.182" v="77"/>
      <pc:docMkLst>
        <pc:docMk/>
      </pc:docMkLst>
    </pc:docChg>
  </pc:docChgLst>
  <pc:docChgLst>
    <pc:chgData name="Rai, Friendsis" userId="S::frai@deloitte.com::2f09c4d3-edc4-4ad0-a87b-717825d45309" providerId="AD" clId="Web-{6770902D-5B8A-257B-8106-110C904C2916}"/>
    <pc:docChg chg="modSld">
      <pc:chgData name="Rai, Friendsis" userId="S::frai@deloitte.com::2f09c4d3-edc4-4ad0-a87b-717825d45309" providerId="AD" clId="Web-{6770902D-5B8A-257B-8106-110C904C2916}" dt="2025-09-19T14:49:54.818" v="585"/>
      <pc:docMkLst>
        <pc:docMk/>
      </pc:docMkLst>
      <pc:sldChg chg="modSp">
        <pc:chgData name="Rai, Friendsis" userId="S::frai@deloitte.com::2f09c4d3-edc4-4ad0-a87b-717825d45309" providerId="AD" clId="Web-{6770902D-5B8A-257B-8106-110C904C2916}" dt="2025-09-19T14:49:54.818" v="585"/>
        <pc:sldMkLst>
          <pc:docMk/>
          <pc:sldMk cId="954418879" sldId="3889"/>
        </pc:sldMkLst>
        <pc:graphicFrameChg chg="mod modGraphic">
          <ac:chgData name="Rai, Friendsis" userId="S::frai@deloitte.com::2f09c4d3-edc4-4ad0-a87b-717825d45309" providerId="AD" clId="Web-{6770902D-5B8A-257B-8106-110C904C2916}" dt="2025-09-19T14:49:54.818" v="585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Billhartz, Blake" userId="50c5c7d3-36b2-4545-ac1f-6059d0268d1a" providerId="ADAL" clId="{777CB9C7-FCE6-4750-8FCE-F2902597D4B4}"/>
    <pc:docChg chg="custSel modSld">
      <pc:chgData name="Billhartz, Blake" userId="50c5c7d3-36b2-4545-ac1f-6059d0268d1a" providerId="ADAL" clId="{777CB9C7-FCE6-4750-8FCE-F2902597D4B4}" dt="2025-08-22T17:56:40.786" v="608" actId="6549"/>
      <pc:docMkLst>
        <pc:docMk/>
      </pc:docMkLst>
      <pc:sldChg chg="modSp mod">
        <pc:chgData name="Billhartz, Blake" userId="50c5c7d3-36b2-4545-ac1f-6059d0268d1a" providerId="ADAL" clId="{777CB9C7-FCE6-4750-8FCE-F2902597D4B4}" dt="2025-08-22T17:56:40.786" v="608" actId="6549"/>
        <pc:sldMkLst>
          <pc:docMk/>
          <pc:sldMk cId="3552024807" sldId="3876"/>
        </pc:sldMkLst>
        <pc:graphicFrameChg chg="mod modGraphic">
          <ac:chgData name="Billhartz, Blake" userId="50c5c7d3-36b2-4545-ac1f-6059d0268d1a" providerId="ADAL" clId="{777CB9C7-FCE6-4750-8FCE-F2902597D4B4}" dt="2025-08-22T17:56:40.786" v="608" actId="6549"/>
          <ac:graphicFrameMkLst>
            <pc:docMk/>
            <pc:sldMk cId="3552024807" sldId="3876"/>
            <ac:graphicFrameMk id="67" creationId="{83BFA58D-6180-4B4C-B228-A4B00ADD0108}"/>
          </ac:graphicFrameMkLst>
        </pc:graphicFrameChg>
      </pc:sldChg>
    </pc:docChg>
  </pc:docChgLst>
  <pc:docChgLst>
    <pc:chgData name="Kaur, Lavleen" userId="S::lakaur@deloitte.com::b04da0c8-555c-4d7e-b503-81557370cd27" providerId="AD" clId="Web-{501E042A-AD9B-36AA-85D1-7A9608572AB1}"/>
    <pc:docChg chg="modSld">
      <pc:chgData name="Kaur, Lavleen" userId="S::lakaur@deloitte.com::b04da0c8-555c-4d7e-b503-81557370cd27" providerId="AD" clId="Web-{501E042A-AD9B-36AA-85D1-7A9608572AB1}" dt="2025-09-19T16:53:18.239" v="223"/>
      <pc:docMkLst>
        <pc:docMk/>
      </pc:docMkLst>
      <pc:sldChg chg="modSp">
        <pc:chgData name="Kaur, Lavleen" userId="S::lakaur@deloitte.com::b04da0c8-555c-4d7e-b503-81557370cd27" providerId="AD" clId="Web-{501E042A-AD9B-36AA-85D1-7A9608572AB1}" dt="2025-09-19T16:53:18.239" v="223"/>
        <pc:sldMkLst>
          <pc:docMk/>
          <pc:sldMk cId="1767971940" sldId="3886"/>
        </pc:sldMkLst>
        <pc:graphicFrameChg chg="mod modGraphic">
          <ac:chgData name="Kaur, Lavleen" userId="S::lakaur@deloitte.com::b04da0c8-555c-4d7e-b503-81557370cd27" providerId="AD" clId="Web-{501E042A-AD9B-36AA-85D1-7A9608572AB1}" dt="2025-09-19T16:53:18.239" v="223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Gupta, Tanu" userId="4974e56d-c64b-4d79-9c56-1c72db121f1c" providerId="ADAL" clId="{7538FEE0-2703-4B33-8E62-9EA2EE4C15D5}"/>
    <pc:docChg chg="modSld">
      <pc:chgData name="Gupta, Tanu" userId="4974e56d-c64b-4d79-9c56-1c72db121f1c" providerId="ADAL" clId="{7538FEE0-2703-4B33-8E62-9EA2EE4C15D5}" dt="2025-08-22T13:44:54.984" v="306" actId="20577"/>
      <pc:docMkLst>
        <pc:docMk/>
      </pc:docMkLst>
    </pc:docChg>
  </pc:docChgLst>
  <pc:docChgLst>
    <pc:chgData name="Rawat, Pragati" userId="9b4df913-7eb4-456c-8eee-342fbb4de8cb" providerId="ADAL" clId="{8EE3C9D4-4BDC-4042-88B4-E381786F4766}"/>
    <pc:docChg chg="custSel modSld">
      <pc:chgData name="Rawat, Pragati" userId="9b4df913-7eb4-456c-8eee-342fbb4de8cb" providerId="ADAL" clId="{8EE3C9D4-4BDC-4042-88B4-E381786F4766}" dt="2025-09-05T13:54:07.822" v="40"/>
      <pc:docMkLst>
        <pc:docMk/>
      </pc:docMkLst>
      <pc:sldChg chg="addSp modSp mod">
        <pc:chgData name="Rawat, Pragati" userId="9b4df913-7eb4-456c-8eee-342fbb4de8cb" providerId="ADAL" clId="{8EE3C9D4-4BDC-4042-88B4-E381786F4766}" dt="2025-09-05T13:54:07.822" v="40"/>
        <pc:sldMkLst>
          <pc:docMk/>
          <pc:sldMk cId="2075981210" sldId="3893"/>
        </pc:sldMkLst>
        <pc:graphicFrameChg chg="mod modGraphic">
          <ac:chgData name="Rawat, Pragati" userId="9b4df913-7eb4-456c-8eee-342fbb4de8cb" providerId="ADAL" clId="{8EE3C9D4-4BDC-4042-88B4-E381786F4766}" dt="2025-09-05T12:44:16.392" v="38" actId="2711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Priyanka Pravallika, Adari" userId="S::apriyankapravalli@deloitte.com::3e98232f-5852-4827-a166-c8c4c369b4ab" providerId="AD" clId="Web-{DE15AE7F-4FAB-DF34-3CD5-FF1E7B950BCF}"/>
    <pc:docChg chg="modSld">
      <pc:chgData name="Priyanka Pravallika, Adari" userId="S::apriyankapravalli@deloitte.com::3e98232f-5852-4827-a166-c8c4c369b4ab" providerId="AD" clId="Web-{DE15AE7F-4FAB-DF34-3CD5-FF1E7B950BCF}" dt="2025-08-22T16:23:21.156" v="573"/>
      <pc:docMkLst>
        <pc:docMk/>
      </pc:docMkLst>
      <pc:sldChg chg="modSp">
        <pc:chgData name="Priyanka Pravallika, Adari" userId="S::apriyankapravalli@deloitte.com::3e98232f-5852-4827-a166-c8c4c369b4ab" providerId="AD" clId="Web-{DE15AE7F-4FAB-DF34-3CD5-FF1E7B950BCF}" dt="2025-08-22T16:23:21.156" v="573"/>
        <pc:sldMkLst>
          <pc:docMk/>
          <pc:sldMk cId="196803840" sldId="3888"/>
        </pc:sldMkLst>
        <pc:graphicFrameChg chg="mod modGraphic">
          <ac:chgData name="Priyanka Pravallika, Adari" userId="S::apriyankapravalli@deloitte.com::3e98232f-5852-4827-a166-c8c4c369b4ab" providerId="AD" clId="Web-{DE15AE7F-4FAB-DF34-3CD5-FF1E7B950BCF}" dt="2025-08-22T16:22:51.843" v="561"/>
          <ac:graphicFrameMkLst>
            <pc:docMk/>
            <pc:sldMk cId="196803840" sldId="3888"/>
            <ac:graphicFrameMk id="3" creationId="{48106A3D-C011-2028-4E94-1FC5DD665B85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DE15AE7F-4FAB-DF34-3CD5-FF1E7B950BCF}" dt="2025-08-22T16:23:21.156" v="573"/>
          <ac:graphicFrameMkLst>
            <pc:docMk/>
            <pc:sldMk cId="196803840" sldId="3888"/>
            <ac:graphicFrameMk id="4" creationId="{CCD0D33A-8DEE-3B9D-AAFA-5A4F1BB92703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DE15AE7F-4FAB-DF34-3CD5-FF1E7B950BCF}" dt="2025-08-22T16:21:41.234" v="517"/>
          <ac:graphicFrameMkLst>
            <pc:docMk/>
            <pc:sldMk cId="196803840" sldId="3888"/>
            <ac:graphicFrameMk id="67" creationId="{83BFA58D-6180-4B4C-B228-A4B00ADD0108}"/>
          </ac:graphicFrameMkLst>
        </pc:graphicFrameChg>
      </pc:sldChg>
    </pc:docChg>
  </pc:docChgLst>
  <pc:docChgLst>
    <pc:chgData name="Rawat, Pragati" userId="9b4df913-7eb4-456c-8eee-342fbb4de8cb" providerId="ADAL" clId="{983C2F68-CCAE-4AA3-AFDB-B451A55B874D}"/>
    <pc:docChg chg="custSel modSld">
      <pc:chgData name="Rawat, Pragati" userId="9b4df913-7eb4-456c-8eee-342fbb4de8cb" providerId="ADAL" clId="{983C2F68-CCAE-4AA3-AFDB-B451A55B874D}" dt="2025-08-22T14:05:59.705" v="451" actId="113"/>
      <pc:docMkLst>
        <pc:docMk/>
      </pc:docMkLst>
      <pc:sldChg chg="modSp mod">
        <pc:chgData name="Rawat, Pragati" userId="9b4df913-7eb4-456c-8eee-342fbb4de8cb" providerId="ADAL" clId="{983C2F68-CCAE-4AA3-AFDB-B451A55B874D}" dt="2025-08-22T14:05:59.705" v="451" actId="113"/>
        <pc:sldMkLst>
          <pc:docMk/>
          <pc:sldMk cId="2075981210" sldId="3893"/>
        </pc:sldMkLst>
        <pc:graphicFrameChg chg="mod modGraphic">
          <ac:chgData name="Rawat, Pragati" userId="9b4df913-7eb4-456c-8eee-342fbb4de8cb" providerId="ADAL" clId="{983C2F68-CCAE-4AA3-AFDB-B451A55B874D}" dt="2025-08-22T14:05:59.705" v="451" actId="113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Kumari, Bharti" userId="S::bharkumari@deloitte.com::dbcf7062-8abc-4798-a94e-65fc4c7fd4fe" providerId="AD" clId="Web-{4F5765C8-DD0E-911A-4E5A-8CF3B5C615D8}"/>
    <pc:docChg chg="modSld">
      <pc:chgData name="Kumari, Bharti" userId="S::bharkumari@deloitte.com::dbcf7062-8abc-4798-a94e-65fc4c7fd4fe" providerId="AD" clId="Web-{4F5765C8-DD0E-911A-4E5A-8CF3B5C615D8}" dt="2025-09-12T13:26:32.708" v="203"/>
      <pc:docMkLst>
        <pc:docMk/>
      </pc:docMkLst>
      <pc:sldChg chg="modSp">
        <pc:chgData name="Kumari, Bharti" userId="S::bharkumari@deloitte.com::dbcf7062-8abc-4798-a94e-65fc4c7fd4fe" providerId="AD" clId="Web-{4F5765C8-DD0E-911A-4E5A-8CF3B5C615D8}" dt="2025-09-12T13:26:32.708" v="203"/>
        <pc:sldMkLst>
          <pc:docMk/>
          <pc:sldMk cId="3294538823" sldId="3890"/>
        </pc:sldMkLst>
        <pc:graphicFrameChg chg="mod modGraphic">
          <ac:chgData name="Kumari, Bharti" userId="S::bharkumari@deloitte.com::dbcf7062-8abc-4798-a94e-65fc4c7fd4fe" providerId="AD" clId="Web-{4F5765C8-DD0E-911A-4E5A-8CF3B5C615D8}" dt="2025-09-12T13:26:32.708" v="203"/>
          <ac:graphicFrameMkLst>
            <pc:docMk/>
            <pc:sldMk cId="3294538823" sldId="3890"/>
            <ac:graphicFrameMk id="67" creationId="{83BFA58D-6180-4B4C-B228-A4B00ADD0108}"/>
          </ac:graphicFrameMkLst>
        </pc:graphicFrameChg>
      </pc:sldChg>
    </pc:docChg>
  </pc:docChgLst>
  <pc:docChgLst>
    <pc:chgData name="Rawat, Pragati" userId="9b4df913-7eb4-456c-8eee-342fbb4de8cb" providerId="ADAL" clId="{C5A27E75-AD45-498A-A9A6-800742BBA009}"/>
    <pc:docChg chg="undo custSel modSld">
      <pc:chgData name="Rawat, Pragati" userId="9b4df913-7eb4-456c-8eee-342fbb4de8cb" providerId="ADAL" clId="{C5A27E75-AD45-498A-A9A6-800742BBA009}" dt="2025-09-19T14:12:35.917" v="79" actId="113"/>
      <pc:docMkLst>
        <pc:docMk/>
      </pc:docMkLst>
      <pc:sldChg chg="modSp mod">
        <pc:chgData name="Rawat, Pragati" userId="9b4df913-7eb4-456c-8eee-342fbb4de8cb" providerId="ADAL" clId="{C5A27E75-AD45-498A-A9A6-800742BBA009}" dt="2025-09-19T14:12:35.917" v="79" actId="113"/>
        <pc:sldMkLst>
          <pc:docMk/>
          <pc:sldMk cId="2075981210" sldId="3893"/>
        </pc:sldMkLst>
        <pc:graphicFrameChg chg="mod modGraphic">
          <ac:chgData name="Rawat, Pragati" userId="9b4df913-7eb4-456c-8eee-342fbb4de8cb" providerId="ADAL" clId="{C5A27E75-AD45-498A-A9A6-800742BBA009}" dt="2025-09-19T14:12:35.917" v="79" actId="113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Gupta, Tanu" userId="4974e56d-c64b-4d79-9c56-1c72db121f1c" providerId="ADAL" clId="{617BF1AA-429C-4C40-B220-AC1A262A0A06}"/>
    <pc:docChg chg="custSel modSld">
      <pc:chgData name="Gupta, Tanu" userId="4974e56d-c64b-4d79-9c56-1c72db121f1c" providerId="ADAL" clId="{617BF1AA-429C-4C40-B220-AC1A262A0A06}" dt="2025-09-12T12:43:19.329" v="673" actId="20577"/>
      <pc:docMkLst>
        <pc:docMk/>
      </pc:docMkLst>
      <pc:sldChg chg="modSp mod">
        <pc:chgData name="Gupta, Tanu" userId="4974e56d-c64b-4d79-9c56-1c72db121f1c" providerId="ADAL" clId="{617BF1AA-429C-4C40-B220-AC1A262A0A06}" dt="2025-09-12T12:43:19.329" v="673" actId="20577"/>
        <pc:sldMkLst>
          <pc:docMk/>
          <pc:sldMk cId="4212219609" sldId="3891"/>
        </pc:sldMkLst>
        <pc:graphicFrameChg chg="mod modGraphic">
          <ac:chgData name="Gupta, Tanu" userId="4974e56d-c64b-4d79-9c56-1c72db121f1c" providerId="ADAL" clId="{617BF1AA-429C-4C40-B220-AC1A262A0A06}" dt="2025-09-12T12:43:19.329" v="673" actId="20577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clId="Web-{80E6E5E1-F0F5-CDC5-97FF-5D58B0E5BF31}"/>
    <pc:docChg chg="modSld">
      <pc:chgData name="" userId="" providerId="" clId="Web-{80E6E5E1-F0F5-CDC5-97FF-5D58B0E5BF31}" dt="2025-08-22T13:05:17.830" v="1"/>
      <pc:docMkLst>
        <pc:docMk/>
      </pc:docMkLst>
      <pc:sldChg chg="modSp">
        <pc:chgData name="" userId="" providerId="" clId="Web-{80E6E5E1-F0F5-CDC5-97FF-5D58B0E5BF31}" dt="2025-08-22T13:05:17.830" v="1"/>
        <pc:sldMkLst>
          <pc:docMk/>
          <pc:sldMk cId="954418879" sldId="3889"/>
        </pc:sldMkLst>
        <pc:graphicFrameChg chg="mod modGraphic">
          <ac:chgData name="" userId="" providerId="" clId="Web-{80E6E5E1-F0F5-CDC5-97FF-5D58B0E5BF31}" dt="2025-08-22T13:05:17.830" v="1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Gupta, Tanu" userId="S::tgupta10@deloitte.com::4974e56d-c64b-4d79-9c56-1c72db121f1c" providerId="AD" clId="Web-{663CE4AB-578B-6506-BBA4-D4C7D3C63915}"/>
    <pc:docChg chg="modSld">
      <pc:chgData name="Gupta, Tanu" userId="S::tgupta10@deloitte.com::4974e56d-c64b-4d79-9c56-1c72db121f1c" providerId="AD" clId="Web-{663CE4AB-578B-6506-BBA4-D4C7D3C63915}" dt="2025-09-12T06:45:21.864" v="103"/>
      <pc:docMkLst>
        <pc:docMk/>
      </pc:docMkLst>
    </pc:docChg>
  </pc:docChgLst>
  <pc:docChgLst>
    <pc:chgData name="SATTI, SUJITHA" userId="S::susujitha@deloitte.com::916be8cd-c7e2-43a9-83e1-d7f162fcdce8" providerId="AD" clId="Web-{492B4004-9744-26D1-7CA1-4B9A1C6414BB}"/>
    <pc:docChg chg="modSld">
      <pc:chgData name="SATTI, SUJITHA" userId="S::susujitha@deloitte.com::916be8cd-c7e2-43a9-83e1-d7f162fcdce8" providerId="AD" clId="Web-{492B4004-9744-26D1-7CA1-4B9A1C6414BB}" dt="2025-08-22T14:49:14.007" v="9"/>
      <pc:docMkLst>
        <pc:docMk/>
      </pc:docMkLst>
      <pc:sldChg chg="modSp">
        <pc:chgData name="SATTI, SUJITHA" userId="S::susujitha@deloitte.com::916be8cd-c7e2-43a9-83e1-d7f162fcdce8" providerId="AD" clId="Web-{492B4004-9744-26D1-7CA1-4B9A1C6414BB}" dt="2025-08-22T14:49:14.007" v="9"/>
        <pc:sldMkLst>
          <pc:docMk/>
          <pc:sldMk cId="4212219609" sldId="3891"/>
        </pc:sldMkLst>
        <pc:graphicFrameChg chg="mod modGraphic">
          <ac:chgData name="SATTI, SUJITHA" userId="S::susujitha@deloitte.com::916be8cd-c7e2-43a9-83e1-d7f162fcdce8" providerId="AD" clId="Web-{492B4004-9744-26D1-7CA1-4B9A1C6414BB}" dt="2025-08-22T14:49:14.007" v="9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SATTI, SUJITHA" userId="S::susujitha@deloitte.com::916be8cd-c7e2-43a9-83e1-d7f162fcdce8" providerId="AD" clId="Web-{755BAA32-5142-7A1C-3408-CACD6DF5876A}"/>
    <pc:docChg chg="modSld">
      <pc:chgData name="SATTI, SUJITHA" userId="S::susujitha@deloitte.com::916be8cd-c7e2-43a9-83e1-d7f162fcdce8" providerId="AD" clId="Web-{755BAA32-5142-7A1C-3408-CACD6DF5876A}" dt="2025-08-29T12:13:59.615" v="3"/>
      <pc:docMkLst>
        <pc:docMk/>
      </pc:docMkLst>
    </pc:docChg>
  </pc:docChgLst>
  <pc:docChgLst>
    <pc:chgData name="Gupta, Tanu" userId="4974e56d-c64b-4d79-9c56-1c72db121f1c" providerId="ADAL" clId="{863206F9-F03A-4D04-998D-38485E4C9737}"/>
    <pc:docChg chg="undo custSel modSld">
      <pc:chgData name="Gupta, Tanu" userId="4974e56d-c64b-4d79-9c56-1c72db121f1c" providerId="ADAL" clId="{863206F9-F03A-4D04-998D-38485E4C9737}" dt="2025-09-19T05:20:52.685" v="446" actId="20577"/>
      <pc:docMkLst>
        <pc:docMk/>
      </pc:docMkLst>
    </pc:docChg>
  </pc:docChgLst>
  <pc:docChgLst>
    <pc:chgData name="Maheshwari, Divya" userId="S::divmaheshwari@deloitte.com::b19a145d-327d-40f8-8ccb-864a40aeca3d" providerId="AD" clId="Web-{49AF19ED-B060-82E3-9704-71BB3565FDFD}"/>
    <pc:docChg chg="modSld">
      <pc:chgData name="Maheshwari, Divya" userId="S::divmaheshwari@deloitte.com::b19a145d-327d-40f8-8ccb-864a40aeca3d" providerId="AD" clId="Web-{49AF19ED-B060-82E3-9704-71BB3565FDFD}" dt="2025-09-12T11:53:44.882" v="685"/>
      <pc:docMkLst>
        <pc:docMk/>
      </pc:docMkLst>
    </pc:docChg>
  </pc:docChgLst>
  <pc:docChgLst>
    <pc:chgData name="Kumari, Bharti" userId="S::bharkumari@deloitte.com::dbcf7062-8abc-4798-a94e-65fc4c7fd4fe" providerId="AD" clId="Web-{C184872F-26AD-82AC-2CEB-5E44F4AECD06}"/>
    <pc:docChg chg="modSld">
      <pc:chgData name="Kumari, Bharti" userId="S::bharkumari@deloitte.com::dbcf7062-8abc-4798-a94e-65fc4c7fd4fe" providerId="AD" clId="Web-{C184872F-26AD-82AC-2CEB-5E44F4AECD06}" dt="2025-08-29T11:12:55.725" v="551"/>
      <pc:docMkLst>
        <pc:docMk/>
      </pc:docMkLst>
    </pc:docChg>
  </pc:docChgLst>
  <pc:docChgLst>
    <pc:chgData name="Billhartz, Blake" userId="S::bbillhartz@deloitte.com::50c5c7d3-36b2-4545-ac1f-6059d0268d1a" providerId="AD" clId="Web-{35D90155-60D3-3C70-B8CB-FE41496059DA}"/>
    <pc:docChg chg="modSld">
      <pc:chgData name="Billhartz, Blake" userId="S::bbillhartz@deloitte.com::50c5c7d3-36b2-4545-ac1f-6059d0268d1a" providerId="AD" clId="Web-{35D90155-60D3-3C70-B8CB-FE41496059DA}" dt="2025-08-22T17:54:46.933" v="0"/>
      <pc:docMkLst>
        <pc:docMk/>
      </pc:docMkLst>
      <pc:sldChg chg="modSp">
        <pc:chgData name="Billhartz, Blake" userId="S::bbillhartz@deloitte.com::50c5c7d3-36b2-4545-ac1f-6059d0268d1a" providerId="AD" clId="Web-{35D90155-60D3-3C70-B8CB-FE41496059DA}" dt="2025-08-22T17:54:46.933" v="0"/>
        <pc:sldMkLst>
          <pc:docMk/>
          <pc:sldMk cId="2075981210" sldId="3893"/>
        </pc:sldMkLst>
        <pc:graphicFrameChg chg="modGraphic">
          <ac:chgData name="Billhartz, Blake" userId="S::bbillhartz@deloitte.com::50c5c7d3-36b2-4545-ac1f-6059d0268d1a" providerId="AD" clId="Web-{35D90155-60D3-3C70-B8CB-FE41496059DA}" dt="2025-08-22T17:54:46.933" v="0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Kumari, Bharti" userId="S::bharkumari@deloitte.com::dbcf7062-8abc-4798-a94e-65fc4c7fd4fe" providerId="AD" clId="Web-{EDF3B5DC-0892-D6D8-950B-3931DF40C2B2}"/>
    <pc:docChg chg="modSld">
      <pc:chgData name="Kumari, Bharti" userId="S::bharkumari@deloitte.com::dbcf7062-8abc-4798-a94e-65fc4c7fd4fe" providerId="AD" clId="Web-{EDF3B5DC-0892-D6D8-950B-3931DF40C2B2}" dt="2025-09-19T12:28:01.489" v="109"/>
      <pc:docMkLst>
        <pc:docMk/>
      </pc:docMkLst>
      <pc:sldChg chg="modSp">
        <pc:chgData name="Kumari, Bharti" userId="S::bharkumari@deloitte.com::dbcf7062-8abc-4798-a94e-65fc4c7fd4fe" providerId="AD" clId="Web-{EDF3B5DC-0892-D6D8-950B-3931DF40C2B2}" dt="2025-09-19T12:28:01.489" v="109"/>
        <pc:sldMkLst>
          <pc:docMk/>
          <pc:sldMk cId="3294538823" sldId="3890"/>
        </pc:sldMkLst>
        <pc:graphicFrameChg chg="mod modGraphic">
          <ac:chgData name="Kumari, Bharti" userId="S::bharkumari@deloitte.com::dbcf7062-8abc-4798-a94e-65fc4c7fd4fe" providerId="AD" clId="Web-{EDF3B5DC-0892-D6D8-950B-3931DF40C2B2}" dt="2025-09-19T12:28:01.489" v="109"/>
          <ac:graphicFrameMkLst>
            <pc:docMk/>
            <pc:sldMk cId="3294538823" sldId="3890"/>
            <ac:graphicFrameMk id="67" creationId="{83BFA58D-6180-4B4C-B228-A4B00ADD0108}"/>
          </ac:graphicFrameMkLst>
        </pc:graphicFrameChg>
      </pc:sldChg>
    </pc:docChg>
  </pc:docChgLst>
  <pc:docChgLst>
    <pc:chgData name="Paul, J" userId="fa19b70c-0ec3-4816-bf57-7b8eea7e8539" providerId="ADAL" clId="{A6596C55-34DC-594A-86A5-47E7A117F085}"/>
    <pc:docChg chg="modSld">
      <pc:chgData name="Paul, J" userId="fa19b70c-0ec3-4816-bf57-7b8eea7e8539" providerId="ADAL" clId="{A6596C55-34DC-594A-86A5-47E7A117F085}" dt="2025-09-04T15:21:44.765" v="37" actId="20577"/>
      <pc:docMkLst>
        <pc:docMk/>
      </pc:docMkLst>
    </pc:docChg>
  </pc:docChgLst>
  <pc:docChgLst>
    <pc:chgData name="G, Sruthi" userId="S::srug@deloitte.com::56ac5004-f0cc-4b36-97c8-fa21eef2ea62" providerId="AD" clId="Web-{84AA590F-521A-F209-3D4A-F64C2D3A90AF}"/>
    <pc:docChg chg="modSld">
      <pc:chgData name="G, Sruthi" userId="S::srug@deloitte.com::56ac5004-f0cc-4b36-97c8-fa21eef2ea62" providerId="AD" clId="Web-{84AA590F-521A-F209-3D4A-F64C2D3A90AF}" dt="2025-08-29T12:05:18.778" v="365"/>
      <pc:docMkLst>
        <pc:docMk/>
      </pc:docMkLst>
    </pc:docChg>
  </pc:docChgLst>
  <pc:docChgLst>
    <pc:chgData name="Gupta, Tanu" userId="S::tgupta10@deloitte.com::4974e56d-c64b-4d79-9c56-1c72db121f1c" providerId="AD" clId="Web-{AD73713D-5569-7E70-27D4-E03B242A2BD6}"/>
    <pc:docChg chg="modSld">
      <pc:chgData name="Gupta, Tanu" userId="S::tgupta10@deloitte.com::4974e56d-c64b-4d79-9c56-1c72db121f1c" providerId="AD" clId="Web-{AD73713D-5569-7E70-27D4-E03B242A2BD6}" dt="2025-09-19T14:30:30.661" v="15"/>
      <pc:docMkLst>
        <pc:docMk/>
      </pc:docMkLst>
      <pc:sldChg chg="modSp">
        <pc:chgData name="Gupta, Tanu" userId="S::tgupta10@deloitte.com::4974e56d-c64b-4d79-9c56-1c72db121f1c" providerId="AD" clId="Web-{AD73713D-5569-7E70-27D4-E03B242A2BD6}" dt="2025-09-19T14:30:30.661" v="15"/>
        <pc:sldMkLst>
          <pc:docMk/>
          <pc:sldMk cId="4212219609" sldId="3891"/>
        </pc:sldMkLst>
        <pc:graphicFrameChg chg="mod modGraphic">
          <ac:chgData name="Gupta, Tanu" userId="S::tgupta10@deloitte.com::4974e56d-c64b-4d79-9c56-1c72db121f1c" providerId="AD" clId="Web-{AD73713D-5569-7E70-27D4-E03B242A2BD6}" dt="2025-09-19T14:30:30.661" v="15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Kaur, Lavleen" userId="b04da0c8-555c-4d7e-b503-81557370cd27" providerId="ADAL" clId="{91B68785-706E-4CFD-9E4B-EDEF96759CF1}"/>
    <pc:docChg chg="custSel modSld">
      <pc:chgData name="Kaur, Lavleen" userId="b04da0c8-555c-4d7e-b503-81557370cd27" providerId="ADAL" clId="{91B68785-706E-4CFD-9E4B-EDEF96759CF1}" dt="2025-08-22T18:38:13.412" v="517" actId="20577"/>
      <pc:docMkLst>
        <pc:docMk/>
      </pc:docMkLst>
      <pc:sldChg chg="modSp mod">
        <pc:chgData name="Kaur, Lavleen" userId="b04da0c8-555c-4d7e-b503-81557370cd27" providerId="ADAL" clId="{91B68785-706E-4CFD-9E4B-EDEF96759CF1}" dt="2025-08-22T18:38:13.412" v="517" actId="20577"/>
        <pc:sldMkLst>
          <pc:docMk/>
          <pc:sldMk cId="1767971940" sldId="3886"/>
        </pc:sldMkLst>
        <pc:graphicFrameChg chg="modGraphic">
          <ac:chgData name="Kaur, Lavleen" userId="b04da0c8-555c-4d7e-b503-81557370cd27" providerId="ADAL" clId="{91B68785-706E-4CFD-9E4B-EDEF96759CF1}" dt="2025-08-22T18:38:13.412" v="517" actId="20577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M Babu, Robin" userId="S::rmbabu@deloitte.com::f97f98bb-6ecc-4aac-9112-342c18af1d5e" providerId="AD" clId="Web-{F74D8ABA-80B2-3E46-C6D4-9D0AD4D20545}"/>
    <pc:docChg chg="modSld">
      <pc:chgData name="M Babu, Robin" userId="S::rmbabu@deloitte.com::f97f98bb-6ecc-4aac-9112-342c18af1d5e" providerId="AD" clId="Web-{F74D8ABA-80B2-3E46-C6D4-9D0AD4D20545}" dt="2025-09-05T16:06:10.522" v="7"/>
      <pc:docMkLst>
        <pc:docMk/>
      </pc:docMkLst>
      <pc:sldChg chg="modSp">
        <pc:chgData name="M Babu, Robin" userId="S::rmbabu@deloitte.com::f97f98bb-6ecc-4aac-9112-342c18af1d5e" providerId="AD" clId="Web-{F74D8ABA-80B2-3E46-C6D4-9D0AD4D20545}" dt="2025-09-05T16:06:10.522" v="7"/>
        <pc:sldMkLst>
          <pc:docMk/>
          <pc:sldMk cId="1767971940" sldId="3886"/>
        </pc:sldMkLst>
        <pc:graphicFrameChg chg="mod modGraphic">
          <ac:chgData name="M Babu, Robin" userId="S::rmbabu@deloitte.com::f97f98bb-6ecc-4aac-9112-342c18af1d5e" providerId="AD" clId="Web-{F74D8ABA-80B2-3E46-C6D4-9D0AD4D20545}" dt="2025-09-05T16:06:10.522" v="7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TANUJA, SUNKARA" userId="S::stanuja@deloitte.com::7a949c8b-5f14-454b-b49f-415049cd8c52" providerId="AD" clId="Web-{38DD3D83-7771-BEC8-5BFC-37A4F90E25CA}"/>
    <pc:docChg chg="modSld">
      <pc:chgData name="TANUJA, SUNKARA" userId="S::stanuja@deloitte.com::7a949c8b-5f14-454b-b49f-415049cd8c52" providerId="AD" clId="Web-{38DD3D83-7771-BEC8-5BFC-37A4F90E25CA}" dt="2025-09-05T16:58:38.627" v="35"/>
      <pc:docMkLst>
        <pc:docMk/>
      </pc:docMkLst>
      <pc:sldChg chg="modSp">
        <pc:chgData name="TANUJA, SUNKARA" userId="S::stanuja@deloitte.com::7a949c8b-5f14-454b-b49f-415049cd8c52" providerId="AD" clId="Web-{38DD3D83-7771-BEC8-5BFC-37A4F90E25CA}" dt="2025-09-05T16:58:38.627" v="35"/>
        <pc:sldMkLst>
          <pc:docMk/>
          <pc:sldMk cId="4212219609" sldId="3891"/>
        </pc:sldMkLst>
        <pc:graphicFrameChg chg="mod modGraphic">
          <ac:chgData name="TANUJA, SUNKARA" userId="S::stanuja@deloitte.com::7a949c8b-5f14-454b-b49f-415049cd8c52" providerId="AD" clId="Web-{38DD3D83-7771-BEC8-5BFC-37A4F90E25CA}" dt="2025-09-05T16:58:38.627" v="35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Maheshwari, Divya" userId="S::divmaheshwari@deloitte.com::b19a145d-327d-40f8-8ccb-864a40aeca3d" providerId="AD" clId="Web-{A55798B6-705C-AE96-7E85-FBEEE79C3671}"/>
    <pc:docChg chg="modSld">
      <pc:chgData name="Maheshwari, Divya" userId="S::divmaheshwari@deloitte.com::b19a145d-327d-40f8-8ccb-864a40aeca3d" providerId="AD" clId="Web-{A55798B6-705C-AE96-7E85-FBEEE79C3671}" dt="2025-08-29T13:30:01.616" v="1278"/>
      <pc:docMkLst>
        <pc:docMk/>
      </pc:docMkLst>
      <pc:sldChg chg="modSp">
        <pc:chgData name="Maheshwari, Divya" userId="S::divmaheshwari@deloitte.com::b19a145d-327d-40f8-8ccb-864a40aeca3d" providerId="AD" clId="Web-{A55798B6-705C-AE96-7E85-FBEEE79C3671}" dt="2025-08-29T13:30:01.616" v="1278"/>
        <pc:sldMkLst>
          <pc:docMk/>
          <pc:sldMk cId="954418879" sldId="3889"/>
        </pc:sldMkLst>
        <pc:graphicFrameChg chg="mod modGraphic">
          <ac:chgData name="Maheshwari, Divya" userId="S::divmaheshwari@deloitte.com::b19a145d-327d-40f8-8ccb-864a40aeca3d" providerId="AD" clId="Web-{A55798B6-705C-AE96-7E85-FBEEE79C3671}" dt="2025-08-29T13:30:01.616" v="1278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Paul, J" userId="S::jpaul4@deloitte.com::fa19b70c-0ec3-4816-bf57-7b8eea7e8539" providerId="AD" clId="Web-{E197D42D-5F33-4AB8-A030-C103B387351E}"/>
    <pc:docChg chg="modSld">
      <pc:chgData name="Paul, J" userId="S::jpaul4@deloitte.com::fa19b70c-0ec3-4816-bf57-7b8eea7e8539" providerId="AD" clId="Web-{E197D42D-5F33-4AB8-A030-C103B387351E}" dt="2025-09-04T12:21:53.614" v="3"/>
      <pc:docMkLst>
        <pc:docMk/>
      </pc:docMkLst>
      <pc:sldChg chg="modSp">
        <pc:chgData name="Paul, J" userId="S::jpaul4@deloitte.com::fa19b70c-0ec3-4816-bf57-7b8eea7e8539" providerId="AD" clId="Web-{E197D42D-5F33-4AB8-A030-C103B387351E}" dt="2025-09-04T12:21:53.614" v="3"/>
        <pc:sldMkLst>
          <pc:docMk/>
          <pc:sldMk cId="954418879" sldId="3889"/>
        </pc:sldMkLst>
        <pc:graphicFrameChg chg="mod modGraphic">
          <ac:chgData name="Paul, J" userId="S::jpaul4@deloitte.com::fa19b70c-0ec3-4816-bf57-7b8eea7e8539" providerId="AD" clId="Web-{E197D42D-5F33-4AB8-A030-C103B387351E}" dt="2025-09-04T12:21:53.614" v="3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Kumar, M Pavan" userId="S::mpavkumar@deloitte.com::c57e25e4-4624-4003-81ff-e96fcf3c5b4e" providerId="AD" clId="Web-{0627D622-E084-5F87-3F66-0D268ED19438}"/>
    <pc:docChg chg="modSld">
      <pc:chgData name="Kumar, M Pavan" userId="S::mpavkumar@deloitte.com::c57e25e4-4624-4003-81ff-e96fcf3c5b4e" providerId="AD" clId="Web-{0627D622-E084-5F87-3F66-0D268ED19438}" dt="2025-09-19T10:51:57.316" v="156"/>
      <pc:docMkLst>
        <pc:docMk/>
      </pc:docMkLst>
      <pc:sldChg chg="modSp">
        <pc:chgData name="Kumar, M Pavan" userId="S::mpavkumar@deloitte.com::c57e25e4-4624-4003-81ff-e96fcf3c5b4e" providerId="AD" clId="Web-{0627D622-E084-5F87-3F66-0D268ED19438}" dt="2025-09-19T10:51:57.316" v="156"/>
        <pc:sldMkLst>
          <pc:docMk/>
          <pc:sldMk cId="954418879" sldId="3889"/>
        </pc:sldMkLst>
        <pc:graphicFrameChg chg="mod modGraphic">
          <ac:chgData name="Kumar, M Pavan" userId="S::mpavkumar@deloitte.com::c57e25e4-4624-4003-81ff-e96fcf3c5b4e" providerId="AD" clId="Web-{0627D622-E084-5F87-3F66-0D268ED19438}" dt="2025-09-19T10:51:57.316" v="156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Gupta, Tanu" userId="S::tgupta10@deloitte.com::4974e56d-c64b-4d79-9c56-1c72db121f1c" providerId="AD" clId="Web-{66B28437-592B-46EE-8644-E6DFBA4D0A2C}"/>
    <pc:docChg chg="modSld">
      <pc:chgData name="Gupta, Tanu" userId="S::tgupta10@deloitte.com::4974e56d-c64b-4d79-9c56-1c72db121f1c" providerId="AD" clId="Web-{66B28437-592B-46EE-8644-E6DFBA4D0A2C}" dt="2025-09-12T12:36:55.360" v="161"/>
      <pc:docMkLst>
        <pc:docMk/>
      </pc:docMkLst>
    </pc:docChg>
  </pc:docChgLst>
  <pc:docChgLst>
    <pc:chgData name="M Babu, Robin" userId="S::rmbabu@deloitte.com::f97f98bb-6ecc-4aac-9112-342c18af1d5e" providerId="AD" clId="Web-{3B0AA243-40D0-26D1-86BD-EADF48AF3E73}"/>
    <pc:docChg chg="modSld">
      <pc:chgData name="M Babu, Robin" userId="S::rmbabu@deloitte.com::f97f98bb-6ecc-4aac-9112-342c18af1d5e" providerId="AD" clId="Web-{3B0AA243-40D0-26D1-86BD-EADF48AF3E73}" dt="2025-08-22T10:03:10.772" v="3"/>
      <pc:docMkLst>
        <pc:docMk/>
      </pc:docMkLst>
      <pc:sldChg chg="modSp">
        <pc:chgData name="M Babu, Robin" userId="S::rmbabu@deloitte.com::f97f98bb-6ecc-4aac-9112-342c18af1d5e" providerId="AD" clId="Web-{3B0AA243-40D0-26D1-86BD-EADF48AF3E73}" dt="2025-08-22T10:03:10.772" v="3"/>
        <pc:sldMkLst>
          <pc:docMk/>
          <pc:sldMk cId="1767971940" sldId="3886"/>
        </pc:sldMkLst>
        <pc:graphicFrameChg chg="mod modGraphic">
          <ac:chgData name="M Babu, Robin" userId="S::rmbabu@deloitte.com::f97f98bb-6ecc-4aac-9112-342c18af1d5e" providerId="AD" clId="Web-{3B0AA243-40D0-26D1-86BD-EADF48AF3E73}" dt="2025-08-22T10:03:10.772" v="3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Zalavadia, Parth" userId="f6ed9717-0e3e-4b6f-b56b-4d9d3d94e88a" providerId="ADAL" clId="{3AE2B26E-F3CF-4F49-B1D3-2CD5594EAE3A}"/>
    <pc:docChg chg="custSel modSld">
      <pc:chgData name="Zalavadia, Parth" userId="f6ed9717-0e3e-4b6f-b56b-4d9d3d94e88a" providerId="ADAL" clId="{3AE2B26E-F3CF-4F49-B1D3-2CD5594EAE3A}" dt="2025-09-05T06:48:37.469" v="135" actId="14734"/>
      <pc:docMkLst>
        <pc:docMk/>
      </pc:docMkLst>
      <pc:sldChg chg="modSp mod">
        <pc:chgData name="Zalavadia, Parth" userId="f6ed9717-0e3e-4b6f-b56b-4d9d3d94e88a" providerId="ADAL" clId="{3AE2B26E-F3CF-4F49-B1D3-2CD5594EAE3A}" dt="2025-09-05T06:48:37.469" v="135" actId="14734"/>
        <pc:sldMkLst>
          <pc:docMk/>
          <pc:sldMk cId="954418879" sldId="3889"/>
        </pc:sldMkLst>
        <pc:graphicFrameChg chg="modGraphic">
          <ac:chgData name="Zalavadia, Parth" userId="f6ed9717-0e3e-4b6f-b56b-4d9d3d94e88a" providerId="ADAL" clId="{3AE2B26E-F3CF-4F49-B1D3-2CD5594EAE3A}" dt="2025-09-05T06:48:37.469" v="135" actId="14734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BURE, PRIYANKA" userId="S::pbure@deloitte.com::bf66f2cb-0fc1-4c90-b911-366137381ef0" providerId="AD" clId="Web-{80E6E5E1-F0F5-CDC5-97FF-5D58B0E5BF31}"/>
    <pc:docChg chg="modSld">
      <pc:chgData name="BURE, PRIYANKA" userId="S::pbure@deloitte.com::bf66f2cb-0fc1-4c90-b911-366137381ef0" providerId="AD" clId="Web-{80E6E5E1-F0F5-CDC5-97FF-5D58B0E5BF31}" dt="2025-08-22T13:38:53.292" v="1729"/>
      <pc:docMkLst>
        <pc:docMk/>
      </pc:docMkLst>
      <pc:sldChg chg="addSp delSp modSp">
        <pc:chgData name="BURE, PRIYANKA" userId="S::pbure@deloitte.com::bf66f2cb-0fc1-4c90-b911-366137381ef0" providerId="AD" clId="Web-{80E6E5E1-F0F5-CDC5-97FF-5D58B0E5BF31}" dt="2025-08-22T13:38:53.292" v="1729"/>
        <pc:sldMkLst>
          <pc:docMk/>
          <pc:sldMk cId="954418879" sldId="3889"/>
        </pc:sldMkLst>
        <pc:graphicFrameChg chg="mod modGraphic">
          <ac:chgData name="BURE, PRIYANKA" userId="S::pbure@deloitte.com::bf66f2cb-0fc1-4c90-b911-366137381ef0" providerId="AD" clId="Web-{80E6E5E1-F0F5-CDC5-97FF-5D58B0E5BF31}" dt="2025-08-22T13:38:53.292" v="1729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Kumar, M Pavan" userId="S::mpavkumar@deloitte.com::c57e25e4-4624-4003-81ff-e96fcf3c5b4e" providerId="AD" clId="Web-{378BC3ED-A0D2-D8DE-9A3A-DFF80BE7517D}"/>
    <pc:docChg chg="modSld">
      <pc:chgData name="Kumar, M Pavan" userId="S::mpavkumar@deloitte.com::c57e25e4-4624-4003-81ff-e96fcf3c5b4e" providerId="AD" clId="Web-{378BC3ED-A0D2-D8DE-9A3A-DFF80BE7517D}" dt="2025-09-05T13:47:55.248" v="65"/>
      <pc:docMkLst>
        <pc:docMk/>
      </pc:docMkLst>
      <pc:sldChg chg="modSp">
        <pc:chgData name="Kumar, M Pavan" userId="S::mpavkumar@deloitte.com::c57e25e4-4624-4003-81ff-e96fcf3c5b4e" providerId="AD" clId="Web-{378BC3ED-A0D2-D8DE-9A3A-DFF80BE7517D}" dt="2025-09-05T13:47:55.248" v="65"/>
        <pc:sldMkLst>
          <pc:docMk/>
          <pc:sldMk cId="954418879" sldId="3889"/>
        </pc:sldMkLst>
        <pc:graphicFrameChg chg="mod modGraphic">
          <ac:chgData name="Kumar, M Pavan" userId="S::mpavkumar@deloitte.com::c57e25e4-4624-4003-81ff-e96fcf3c5b4e" providerId="AD" clId="Web-{378BC3ED-A0D2-D8DE-9A3A-DFF80BE7517D}" dt="2025-09-05T13:47:55.248" v="65"/>
          <ac:graphicFrameMkLst>
            <pc:docMk/>
            <pc:sldMk cId="954418879" sldId="3889"/>
            <ac:graphicFrameMk id="67" creationId="{83BFA58D-6180-4B4C-B228-A4B00ADD0108}"/>
          </ac:graphicFrameMkLst>
        </pc:graphicFrameChg>
      </pc:sldChg>
    </pc:docChg>
  </pc:docChgLst>
  <pc:docChgLst>
    <pc:chgData name="Gupta, Tanu" userId="4974e56d-c64b-4d79-9c56-1c72db121f1c" providerId="ADAL" clId="{9E179623-446E-44ED-8E4B-770A067A99B7}"/>
    <pc:docChg chg="modSld">
      <pc:chgData name="Gupta, Tanu" userId="4974e56d-c64b-4d79-9c56-1c72db121f1c" providerId="ADAL" clId="{9E179623-446E-44ED-8E4B-770A067A99B7}" dt="2025-08-29T12:33:49.325" v="236" actId="20577"/>
      <pc:docMkLst>
        <pc:docMk/>
      </pc:docMkLst>
      <pc:sldChg chg="modSp mod">
        <pc:chgData name="Gupta, Tanu" userId="4974e56d-c64b-4d79-9c56-1c72db121f1c" providerId="ADAL" clId="{9E179623-446E-44ED-8E4B-770A067A99B7}" dt="2025-08-29T12:33:49.325" v="236" actId="20577"/>
        <pc:sldMkLst>
          <pc:docMk/>
          <pc:sldMk cId="4212219609" sldId="3891"/>
        </pc:sldMkLst>
        <pc:graphicFrameChg chg="modGraphic">
          <ac:chgData name="Gupta, Tanu" userId="4974e56d-c64b-4d79-9c56-1c72db121f1c" providerId="ADAL" clId="{9E179623-446E-44ED-8E4B-770A067A99B7}" dt="2025-08-29T12:33:49.325" v="236" actId="20577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  <pc:docChgLst>
    <pc:chgData name="Rawat, Pragati" userId="9b4df913-7eb4-456c-8eee-342fbb4de8cb" providerId="ADAL" clId="{019D3F9E-7F62-45EC-8A47-17A261F23CBA}"/>
    <pc:docChg chg="custSel modSld">
      <pc:chgData name="Rawat, Pragati" userId="9b4df913-7eb4-456c-8eee-342fbb4de8cb" providerId="ADAL" clId="{019D3F9E-7F62-45EC-8A47-17A261F23CBA}" dt="2025-08-29T14:48:14.860" v="116" actId="20577"/>
      <pc:docMkLst>
        <pc:docMk/>
      </pc:docMkLst>
    </pc:docChg>
  </pc:docChgLst>
  <pc:docChgLst>
    <pc:chgData name="Rawat, Pragati" userId="9b4df913-7eb4-456c-8eee-342fbb4de8cb" providerId="ADAL" clId="{BC1DC6D2-5522-4C94-BF43-15ED7545B0BD}"/>
    <pc:docChg chg="custSel modSld">
      <pc:chgData name="Rawat, Pragati" userId="9b4df913-7eb4-456c-8eee-342fbb4de8cb" providerId="ADAL" clId="{BC1DC6D2-5522-4C94-BF43-15ED7545B0BD}" dt="2025-09-12T14:56:09.873" v="100" actId="20577"/>
      <pc:docMkLst>
        <pc:docMk/>
      </pc:docMkLst>
      <pc:sldChg chg="modSp mod">
        <pc:chgData name="Rawat, Pragati" userId="9b4df913-7eb4-456c-8eee-342fbb4de8cb" providerId="ADAL" clId="{BC1DC6D2-5522-4C94-BF43-15ED7545B0BD}" dt="2025-09-12T14:56:09.873" v="100" actId="20577"/>
        <pc:sldMkLst>
          <pc:docMk/>
          <pc:sldMk cId="2075981210" sldId="3893"/>
        </pc:sldMkLst>
        <pc:graphicFrameChg chg="mod modGraphic">
          <ac:chgData name="Rawat, Pragati" userId="9b4df913-7eb4-456c-8eee-342fbb4de8cb" providerId="ADAL" clId="{BC1DC6D2-5522-4C94-BF43-15ED7545B0BD}" dt="2025-09-12T14:56:09.873" v="100" actId="20577"/>
          <ac:graphicFrameMkLst>
            <pc:docMk/>
            <pc:sldMk cId="2075981210" sldId="3893"/>
            <ac:graphicFrameMk id="67" creationId="{83BFA58D-6180-4B4C-B228-A4B00ADD0108}"/>
          </ac:graphicFrameMkLst>
        </pc:graphicFrameChg>
      </pc:sldChg>
    </pc:docChg>
  </pc:docChgLst>
  <pc:docChgLst>
    <pc:chgData name="Kumar, M Pavan" userId="S::mpavkumar@deloitte.com::c57e25e4-4624-4003-81ff-e96fcf3c5b4e" providerId="AD" clId="Web-{23B060F6-0568-EC90-8D71-974C698F1742}"/>
    <pc:docChg chg="modSld">
      <pc:chgData name="Kumar, M Pavan" userId="S::mpavkumar@deloitte.com::c57e25e4-4624-4003-81ff-e96fcf3c5b4e" providerId="AD" clId="Web-{23B060F6-0568-EC90-8D71-974C698F1742}" dt="2025-08-29T10:53:10.133" v="19"/>
      <pc:docMkLst>
        <pc:docMk/>
      </pc:docMkLst>
    </pc:docChg>
  </pc:docChgLst>
  <pc:docChgLst>
    <pc:chgData name="G, Sruthi" userId="S::srug@deloitte.com::56ac5004-f0cc-4b36-97c8-fa21eef2ea62" providerId="AD" clId="Web-{C2C87B0B-F499-E678-BC24-012D161C1612}"/>
    <pc:docChg chg="modSld">
      <pc:chgData name="G, Sruthi" userId="S::srug@deloitte.com::56ac5004-f0cc-4b36-97c8-fa21eef2ea62" providerId="AD" clId="Web-{C2C87B0B-F499-E678-BC24-012D161C1612}" dt="2025-09-19T11:46:53.971" v="133"/>
      <pc:docMkLst>
        <pc:docMk/>
      </pc:docMkLst>
      <pc:sldChg chg="modSp">
        <pc:chgData name="G, Sruthi" userId="S::srug@deloitte.com::56ac5004-f0cc-4b36-97c8-fa21eef2ea62" providerId="AD" clId="Web-{C2C87B0B-F499-E678-BC24-012D161C1612}" dt="2025-09-19T11:46:53.971" v="133"/>
        <pc:sldMkLst>
          <pc:docMk/>
          <pc:sldMk cId="196803840" sldId="3888"/>
        </pc:sldMkLst>
        <pc:graphicFrameChg chg="mod modGraphic">
          <ac:chgData name="G, Sruthi" userId="S::srug@deloitte.com::56ac5004-f0cc-4b36-97c8-fa21eef2ea62" providerId="AD" clId="Web-{C2C87B0B-F499-E678-BC24-012D161C1612}" dt="2025-09-19T11:46:53.971" v="133"/>
          <ac:graphicFrameMkLst>
            <pc:docMk/>
            <pc:sldMk cId="196803840" sldId="3888"/>
            <ac:graphicFrameMk id="4" creationId="{CCD0D33A-8DEE-3B9D-AAFA-5A4F1BB92703}"/>
          </ac:graphicFrameMkLst>
        </pc:graphicFrameChg>
        <pc:graphicFrameChg chg="mod modGraphic">
          <ac:chgData name="G, Sruthi" userId="S::srug@deloitte.com::56ac5004-f0cc-4b36-97c8-fa21eef2ea62" providerId="AD" clId="Web-{C2C87B0B-F499-E678-BC24-012D161C1612}" dt="2025-09-19T11:45:55.591" v="115"/>
          <ac:graphicFrameMkLst>
            <pc:docMk/>
            <pc:sldMk cId="196803840" sldId="3888"/>
            <ac:graphicFrameMk id="67" creationId="{83BFA58D-6180-4B4C-B228-A4B00ADD0108}"/>
          </ac:graphicFrameMkLst>
        </pc:graphicFrameChg>
      </pc:sldChg>
    </pc:docChg>
  </pc:docChgLst>
  <pc:docChgLst>
    <pc:chgData name="Rai, Friendsis" userId="S::frai@deloitte.com::2f09c4d3-edc4-4ad0-a87b-717825d45309" providerId="AD" clId="Web-{58DCEF05-6ECF-268E-9AAF-F5E8B7F4FEE6}"/>
    <pc:docChg chg="modSld">
      <pc:chgData name="Rai, Friendsis" userId="S::frai@deloitte.com::2f09c4d3-edc4-4ad0-a87b-717825d45309" providerId="AD" clId="Web-{58DCEF05-6ECF-268E-9AAF-F5E8B7F4FEE6}" dt="2025-09-05T17:02:15.905" v="1783"/>
      <pc:docMkLst>
        <pc:docMk/>
      </pc:docMkLst>
    </pc:docChg>
  </pc:docChgLst>
  <pc:docChgLst>
    <pc:chgData name="M Babu, Robin" userId="S::rmbabu@deloitte.com::f97f98bb-6ecc-4aac-9112-342c18af1d5e" providerId="AD" clId="Web-{9A3B3378-AFD1-C8C0-9DED-5B9B9C87F0DB}"/>
    <pc:docChg chg="modSld">
      <pc:chgData name="M Babu, Robin" userId="S::rmbabu@deloitte.com::f97f98bb-6ecc-4aac-9112-342c18af1d5e" providerId="AD" clId="Web-{9A3B3378-AFD1-C8C0-9DED-5B9B9C87F0DB}" dt="2025-09-19T14:08:01.779" v="9"/>
      <pc:docMkLst>
        <pc:docMk/>
      </pc:docMkLst>
      <pc:sldChg chg="modSp">
        <pc:chgData name="M Babu, Robin" userId="S::rmbabu@deloitte.com::f97f98bb-6ecc-4aac-9112-342c18af1d5e" providerId="AD" clId="Web-{9A3B3378-AFD1-C8C0-9DED-5B9B9C87F0DB}" dt="2025-09-19T14:08:01.779" v="9"/>
        <pc:sldMkLst>
          <pc:docMk/>
          <pc:sldMk cId="1767971940" sldId="3886"/>
        </pc:sldMkLst>
        <pc:graphicFrameChg chg="mod modGraphic">
          <ac:chgData name="M Babu, Robin" userId="S::rmbabu@deloitte.com::f97f98bb-6ecc-4aac-9112-342c18af1d5e" providerId="AD" clId="Web-{9A3B3378-AFD1-C8C0-9DED-5B9B9C87F0DB}" dt="2025-09-19T14:08:01.779" v="9"/>
          <ac:graphicFrameMkLst>
            <pc:docMk/>
            <pc:sldMk cId="1767971940" sldId="3886"/>
            <ac:graphicFrameMk id="67" creationId="{83BFA58D-6180-4B4C-B228-A4B00ADD0108}"/>
          </ac:graphicFrameMkLst>
        </pc:graphicFrameChg>
      </pc:sldChg>
    </pc:docChg>
  </pc:docChgLst>
  <pc:docChgLst>
    <pc:chgData name="Priyanka Pravallika, Adari" userId="S::apriyankapravalli@deloitte.com::3e98232f-5852-4827-a166-c8c4c369b4ab" providerId="AD" clId="Web-{200A9CA2-8361-BE8E-F620-9B66AA10702A}"/>
    <pc:docChg chg="modSld">
      <pc:chgData name="Priyanka Pravallika, Adari" userId="S::apriyankapravalli@deloitte.com::3e98232f-5852-4827-a166-c8c4c369b4ab" providerId="AD" clId="Web-{200A9CA2-8361-BE8E-F620-9B66AA10702A}" dt="2025-09-05T15:11:34.516" v="249"/>
      <pc:docMkLst>
        <pc:docMk/>
      </pc:docMkLst>
      <pc:sldChg chg="modSp">
        <pc:chgData name="Priyanka Pravallika, Adari" userId="S::apriyankapravalli@deloitte.com::3e98232f-5852-4827-a166-c8c4c369b4ab" providerId="AD" clId="Web-{200A9CA2-8361-BE8E-F620-9B66AA10702A}" dt="2025-09-05T15:11:34.516" v="249"/>
        <pc:sldMkLst>
          <pc:docMk/>
          <pc:sldMk cId="196803840" sldId="3888"/>
        </pc:sldMkLst>
        <pc:graphicFrameChg chg="mod modGraphic">
          <ac:chgData name="Priyanka Pravallika, Adari" userId="S::apriyankapravalli@deloitte.com::3e98232f-5852-4827-a166-c8c4c369b4ab" providerId="AD" clId="Web-{200A9CA2-8361-BE8E-F620-9B66AA10702A}" dt="2025-09-05T15:10:16.045" v="219"/>
          <ac:graphicFrameMkLst>
            <pc:docMk/>
            <pc:sldMk cId="196803840" sldId="3888"/>
            <ac:graphicFrameMk id="3" creationId="{48106A3D-C011-2028-4E94-1FC5DD665B85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200A9CA2-8361-BE8E-F620-9B66AA10702A}" dt="2025-09-05T15:11:34.516" v="249"/>
          <ac:graphicFrameMkLst>
            <pc:docMk/>
            <pc:sldMk cId="196803840" sldId="3888"/>
            <ac:graphicFrameMk id="4" creationId="{CCD0D33A-8DEE-3B9D-AAFA-5A4F1BB92703}"/>
          </ac:graphicFrameMkLst>
        </pc:graphicFrameChg>
        <pc:graphicFrameChg chg="mod modGraphic">
          <ac:chgData name="Priyanka Pravallika, Adari" userId="S::apriyankapravalli@deloitte.com::3e98232f-5852-4827-a166-c8c4c369b4ab" providerId="AD" clId="Web-{200A9CA2-8361-BE8E-F620-9B66AA10702A}" dt="2025-09-05T15:09:20.667" v="207"/>
          <ac:graphicFrameMkLst>
            <pc:docMk/>
            <pc:sldMk cId="196803840" sldId="3888"/>
            <ac:graphicFrameMk id="67" creationId="{83BFA58D-6180-4B4C-B228-A4B00ADD0108}"/>
          </ac:graphicFrameMkLst>
        </pc:graphicFrameChg>
      </pc:sldChg>
    </pc:docChg>
  </pc:docChgLst>
  <pc:docChgLst>
    <pc:chgData name="TANUJA, SUNKARA" userId="S::stanuja@deloitte.com::7a949c8b-5f14-454b-b49f-415049cd8c52" providerId="AD" clId="Web-{F8A60EF5-365B-5BD0-B269-680BA9533273}"/>
    <pc:docChg chg="modSld">
      <pc:chgData name="TANUJA, SUNKARA" userId="S::stanuja@deloitte.com::7a949c8b-5f14-454b-b49f-415049cd8c52" providerId="AD" clId="Web-{F8A60EF5-365B-5BD0-B269-680BA9533273}" dt="2025-09-19T14:03:37.836" v="9"/>
      <pc:docMkLst>
        <pc:docMk/>
      </pc:docMkLst>
      <pc:sldChg chg="modSp">
        <pc:chgData name="TANUJA, SUNKARA" userId="S::stanuja@deloitte.com::7a949c8b-5f14-454b-b49f-415049cd8c52" providerId="AD" clId="Web-{F8A60EF5-365B-5BD0-B269-680BA9533273}" dt="2025-09-19T14:03:37.836" v="9"/>
        <pc:sldMkLst>
          <pc:docMk/>
          <pc:sldMk cId="4212219609" sldId="3891"/>
        </pc:sldMkLst>
        <pc:graphicFrameChg chg="mod modGraphic">
          <ac:chgData name="TANUJA, SUNKARA" userId="S::stanuja@deloitte.com::7a949c8b-5f14-454b-b49f-415049cd8c52" providerId="AD" clId="Web-{F8A60EF5-365B-5BD0-B269-680BA9533273}" dt="2025-09-19T14:03:37.836" v="9"/>
          <ac:graphicFrameMkLst>
            <pc:docMk/>
            <pc:sldMk cId="4212219609" sldId="3891"/>
            <ac:graphicFrameMk id="67" creationId="{83BFA58D-6180-4B4C-B228-A4B00ADD0108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2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5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ER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gito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69-4707-9BEC-8BCF4A20C9F2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69-4707-9BEC-8BCF4A20C9F2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14-46BE-9CA6-5FFA15682A5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yChart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81E-4CE3-B63C-1D5CE92DCAB9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81E-4CE3-B63C-1D5CE92DCAB9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1E-4CE3-B63C-1D5CE92DCAB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idges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reLink Utilized Hour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B-4214-BD31-7C67891A02C6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B-4214-BD31-7C67891A02C6}"/>
              </c:ext>
            </c:extLst>
          </c:dPt>
          <c:cat>
            <c:strRef>
              <c:f>'[CHRISTUS Health_Deloitte Work Packet Dashboard_Master_October 2022 Refresh.xlsx]Utilized Hours'!$B$32:$B$33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2:$C$33</c:f>
              <c:numCache>
                <c:formatCode>General</c:formatCode>
                <c:ptCount val="2"/>
                <c:pt idx="0">
                  <c:v>0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AB-4214-BD31-7C67891A0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larity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75-4721-A36A-FD876A766CD5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75-4721-A36A-FD876A766CD5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75-4721-A36A-FD876A766CD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A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C-DC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5AE67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j-lt"/>
              </a:rPr>
              <a:t>Test Automation Utilized Hours</a:t>
            </a:r>
          </a:p>
        </c:rich>
      </c:tx>
      <c:layout>
        <c:manualLayout>
          <c:xMode val="edge"/>
          <c:yMode val="edge"/>
          <c:x val="0.20956373492878577"/>
          <c:y val="7.6224208808717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tilization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rgbClr val="E87A30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426FC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F2-421C-BEEE-F9F4D6BB4B2F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E87A3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CF2-421C-BEEE-F9F4D6BB4B2F}"/>
              </c:ext>
            </c:extLst>
          </c:dPt>
          <c:cat>
            <c:strRef>
              <c:f>Sheet1!$A$2:$A$3</c:f>
              <c:strCache>
                <c:ptCount val="2"/>
                <c:pt idx="0">
                  <c:v>Avaliable Hours</c:v>
                </c:pt>
                <c:pt idx="1">
                  <c:v>Utilized Hour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0%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51-4846-BCAD-BA5585478B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770630197716881"/>
          <c:y val="0.87060210322798526"/>
          <c:w val="0.50193509323980923"/>
          <c:h val="8.57528351004279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900" b="0" i="0" u="none" strike="noStrike" kern="120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A21943-350D-4AAA-BB44-C822C3A37900}" type="datetimeFigureOut">
              <a:rPr lang="en-US" smtClean="0"/>
              <a:t>9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221FB3-FA6F-4C75-AC59-A84E83583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637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221FB3-FA6F-4C75-AC59-A84E83583CA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9652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855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264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625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25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644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442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94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7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387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435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with Tw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581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8627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F03C5-12A3-4E7B-BAFE-0B0A4C8D3E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380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57680-CBF0-4A9F-B861-CAC730B26E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4244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98797-A166-4045-949B-5C34A4BA80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7978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35ADF-DDA2-4ADF-85C8-BB2F28B17E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637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14CCB0-30CB-4BE9-9488-2BBFC27F32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475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0522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mall Font Heade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89600" y="6324603"/>
            <a:ext cx="862541" cy="365125"/>
          </a:xfrm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29745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99118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838D6-5A75-4EA7-B71D-A12B80DA3FAC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9" name="Picture 2" descr="Free Download CHRISTUS Health Logo Vector from Tukuz.Com">
            <a:extLst>
              <a:ext uri="{FF2B5EF4-FFF2-40B4-BE49-F238E27FC236}">
                <a16:creationId xmlns:a16="http://schemas.microsoft.com/office/drawing/2014/main" id="{4088AA87-4578-46D4-A0EC-95736198BD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674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12192000" cy="591671"/>
          </a:xfrm>
          <a:solidFill>
            <a:srgbClr val="671E75"/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D06988-DB0A-4A7A-8E6F-92124D93EB2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F8B0A0-9DB7-48FD-BC9C-515970487CB8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0" name="Picture 2" descr="Free Download CHRISTUS Health Logo Vector from Tukuz.Com">
            <a:extLst>
              <a:ext uri="{FF2B5EF4-FFF2-40B4-BE49-F238E27FC236}">
                <a16:creationId xmlns:a16="http://schemas.microsoft.com/office/drawing/2014/main" id="{BCC3E8AE-4929-4431-B814-B87872AD10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57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606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01272" y="6211891"/>
            <a:ext cx="487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rgbClr val="FF0000"/>
                </a:solidFill>
              </a:rPr>
              <a:t>PLACEHOLDER</a:t>
            </a:r>
          </a:p>
        </p:txBody>
      </p:sp>
    </p:spTree>
    <p:extLst>
      <p:ext uri="{BB962C8B-B14F-4D97-AF65-F5344CB8AC3E}">
        <p14:creationId xmlns:p14="http://schemas.microsoft.com/office/powerpoint/2010/main" val="1314084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873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74875"/>
            <a:ext cx="10972800" cy="3951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191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0B6B38-3BC5-4791-ADCC-4C2C5F1AF8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63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O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56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782EBE-76DF-450B-A1F1-B4311CCC9D0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943259" y="5890835"/>
            <a:ext cx="1933575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579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3500" kern="1200">
          <a:solidFill>
            <a:schemeClr val="tx1"/>
          </a:solidFill>
          <a:latin typeface="Arial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Relationship Id="rId9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9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209800" y="2130428"/>
            <a:ext cx="7772400" cy="1470025"/>
          </a:xfrm>
          <a:solidFill>
            <a:srgbClr val="671E75"/>
          </a:solidFill>
        </p:spPr>
        <p:txBody>
          <a:bodyPr/>
          <a:lstStyle/>
          <a:p>
            <a:pPr algn="l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ekly CHRISTUS Health</a:t>
            </a:r>
            <a:b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oitte Build Team Status Report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8C581739-8C99-4CB5-B972-57FE3B7C5090}"/>
              </a:ext>
            </a:extLst>
          </p:cNvPr>
          <p:cNvSpPr txBox="1">
            <a:spLocks/>
          </p:cNvSpPr>
          <p:nvPr/>
        </p:nvSpPr>
        <p:spPr bwMode="auto">
          <a:xfrm>
            <a:off x="2209800" y="3429003"/>
            <a:ext cx="7772400" cy="61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en-US" sz="2400" b="1" dirty="0" err="1">
                <a:latin typeface="Open Sans"/>
                <a:ea typeface="Open Sans"/>
                <a:cs typeface="Open Sans"/>
              </a:rPr>
              <a:t>fancyDat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903958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593DCDB-F8CB-49B3-9AEF-CFC9146AC8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7032336"/>
              </p:ext>
            </p:extLst>
          </p:nvPr>
        </p:nvGraphicFramePr>
        <p:xfrm>
          <a:off x="3803207" y="3599644"/>
          <a:ext cx="4585587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F73F8B6-D25E-47F2-BFFD-FDD187ABD3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1630676"/>
              </p:ext>
            </p:extLst>
          </p:nvPr>
        </p:nvGraphicFramePr>
        <p:xfrm>
          <a:off x="867956" y="1124561"/>
          <a:ext cx="4689766" cy="2304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2596A8-71AF-EF69-987B-E337D646CA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5408599"/>
              </p:ext>
            </p:extLst>
          </p:nvPr>
        </p:nvGraphicFramePr>
        <p:xfrm>
          <a:off x="7126575" y="1178212"/>
          <a:ext cx="3596750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6C02369-2DE7-DFC3-A69E-5A0A1AE1D969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88166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2425"/>
              </p:ext>
            </p:extLst>
          </p:nvPr>
        </p:nvGraphicFramePr>
        <p:xfrm>
          <a:off x="11043" y="585303"/>
          <a:ext cx="12173193" cy="60831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8842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0443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700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Topic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7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Week Updates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ccess Issues or Roadblock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u="sng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</a:t>
                      </a: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idges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 team closing 19 tickets this week with 4 still in the queue. Paul has been onboarded to the team this week and Ross is still working on getting Paul the “contractor desktop.”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yChart: </a:t>
                      </a:r>
                      <a:r>
                        <a:rPr lang="en-US" sz="11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worked on 16 tickets this week closing 2 of them. 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ordinated with on-shore team and completed review of all 144 Nova Notes. Off-shore team has been assigned 57% of Nova notes build task to be completed by 9/26. Priyanka Bure ‘s last day on the MyChart team will be Sept 1</a:t>
                      </a:r>
                      <a:r>
                        <a:rPr lang="en-US" sz="1100" b="0" i="0" u="none" strike="noStrike" kern="1200" baseline="300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st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 and we are in the process of letting Vanessa know Harshit will be moving to the MyChart team while we backfill his role on the SER team.</a:t>
                      </a:r>
                      <a:endParaRPr lang="en-US" sz="11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Cogito team continues to make progress across all of the various projects including the open 6 reports. See slide 6 for more information. 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continues to make progress across all of the various projects including the open 5 reports. See slide 5 for more information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am completed 178 SNOW tickets this week. Progress has been made on the Coding and Claim Edit workqueue as well for the week ~22 providers releasing ~$74k in revenue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areLink: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obin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8 site creations along with EAF builds for each of the site and migrated them to PRD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Quality Assurance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Task capture has been completed for 10 out of 24 Test Scripts.  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:</a:t>
                      </a:r>
                      <a:r>
                        <a:rPr lang="en-US" sz="11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Open Sans"/>
                        </a:rPr>
                        <a:t>Team migrated over 54 DC SNOW requests all the way through to PRD. he team successfully completed the POTF clean-up activity, reducing the count to fewer than 50. ​The team discussed the POTF CSV clean-up effort, which involves over 450 providers, with Jeevan and aims to complete it by the end of next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st Automation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is working of development and testing of new test scripts​.Working on development of 3 new production automations (Quality review, Hyland Indexer, Finance Infor)​. Team is working on cross departmental testing. Team had a discussion with Epic QA regarding cross departmental testing for inpatient workflow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13944"/>
                  </a:ext>
                </a:extLst>
              </a:tr>
              <a:tr h="26513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n-boarding/Off-Boarding Additional Deloitte Suppor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n-boarding Updates</a:t>
                      </a:r>
                      <a:endParaRPr lang="en-US" sz="11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- Paul J will be supporting the Bridges team as of 8/18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ff-boarding Updat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riyanka Bure’s last day will be 9/1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TO/Upcoming PTO: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August PTO’s: Paul J- 08/18 &amp; 08/19 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Priyanka Pravallika, Adari- 08/18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Balagopalan, Akhila - 08/18 t0 08/20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Tanuja, Sunkara- 08/28,08/29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Zalavadia, Parth -  08/28,08/29</a:t>
                      </a:r>
                      <a:endParaRPr lang="en-US"/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Wedding PTOs (Tentativ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anu –  8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2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f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nusree – 1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19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riyanka Adari – 2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September to 3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r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(engagement) and 22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n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to 1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November (wedding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9368450"/>
                  </a:ext>
                </a:extLst>
              </a:tr>
            </a:tbl>
          </a:graphicData>
        </a:graphic>
      </p:graphicFrame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0" y="3"/>
            <a:ext cx="12192000" cy="58713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CHRISTUS / Deloitte Pod Engagement Statu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0287B9E-A260-F833-34CF-AA78282AE454}"/>
              </a:ext>
            </a:extLst>
          </p:cNvPr>
          <p:cNvSpPr/>
          <p:nvPr/>
        </p:nvSpPr>
        <p:spPr>
          <a:xfrm>
            <a:off x="278659" y="5921338"/>
            <a:ext cx="194311" cy="1714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9B6C9B-0866-9905-8F8B-ADF016F5B5E3}"/>
              </a:ext>
            </a:extLst>
          </p:cNvPr>
          <p:cNvSpPr/>
          <p:nvPr/>
        </p:nvSpPr>
        <p:spPr>
          <a:xfrm>
            <a:off x="278659" y="6132741"/>
            <a:ext cx="194311" cy="17145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14BDC33-0C60-2744-E9AA-D0EB2B7D6602}"/>
              </a:ext>
            </a:extLst>
          </p:cNvPr>
          <p:cNvSpPr/>
          <p:nvPr/>
        </p:nvSpPr>
        <p:spPr>
          <a:xfrm>
            <a:off x="278658" y="6351588"/>
            <a:ext cx="194311" cy="17145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D85A8A-D080-A107-D526-3EB4D170F0A8}"/>
              </a:ext>
            </a:extLst>
          </p:cNvPr>
          <p:cNvSpPr txBox="1"/>
          <p:nvPr/>
        </p:nvSpPr>
        <p:spPr>
          <a:xfrm>
            <a:off x="417696" y="589664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gt; 2 Weeks of Work Packe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328BE4-C595-31E1-D799-C28A07B96B3C}"/>
              </a:ext>
            </a:extLst>
          </p:cNvPr>
          <p:cNvSpPr txBox="1"/>
          <p:nvPr/>
        </p:nvSpPr>
        <p:spPr>
          <a:xfrm>
            <a:off x="417696" y="611125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2 Weeks of Work Packe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5A3A9E-BDDC-31E1-E2FE-8D6EE9892847}"/>
              </a:ext>
            </a:extLst>
          </p:cNvPr>
          <p:cNvSpPr txBox="1"/>
          <p:nvPr/>
        </p:nvSpPr>
        <p:spPr>
          <a:xfrm>
            <a:off x="417696" y="6316217"/>
            <a:ext cx="15904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3 Weeks of Work Pack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80B510-E363-FA6E-8223-EF58094A8A2B}"/>
              </a:ext>
            </a:extLst>
          </p:cNvPr>
          <p:cNvSpPr txBox="1"/>
          <p:nvPr/>
        </p:nvSpPr>
        <p:spPr>
          <a:xfrm>
            <a:off x="326057" y="5717945"/>
            <a:ext cx="1386751" cy="220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en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37E1B1-BD71-3F30-BACA-BE421172DA32}"/>
              </a:ext>
            </a:extLst>
          </p:cNvPr>
          <p:cNvSpPr/>
          <p:nvPr/>
        </p:nvSpPr>
        <p:spPr>
          <a:xfrm>
            <a:off x="0" y="585303"/>
            <a:ext cx="12192000" cy="627269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024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416975"/>
              </p:ext>
            </p:extLst>
          </p:nvPr>
        </p:nvGraphicFramePr>
        <p:xfrm>
          <a:off x="0" y="445691"/>
          <a:ext cx="12191998" cy="64123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5780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8583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016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4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 dirty="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8494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C Link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28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4 site creations along with EAF &amp; DEP builds for each of the site and migrated them to PRD. </a:t>
                      </a:r>
                    </a:p>
                    <a:p>
                      <a:pPr marL="285750" lvl="0" indent="-2857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endParaRPr lang="en-US" sz="10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– 14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4436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SER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2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following imports:-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uccessfully imported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70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udent RN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lanning for NPPES load-2 imports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SV Blueprint imported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ing  on MD-Staff Epic integration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1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uplicate provider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Blueprint Activation Button documen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OTF and POTF CSV-  260 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were verified manually. 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ceived and completed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~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88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now tickets.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IN" sz="1000" b="1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endParaRPr lang="en-IN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ding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 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2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.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63.49K)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laim error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 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31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136,7K)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will work on the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1077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 Tx</a:t>
                      </a:r>
                      <a:endParaRPr lang="en-US" dirty="0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the NPPES load for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7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LA</a:t>
                      </a: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0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NM and A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Meditech import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24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.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giving On-Call support</a:t>
                      </a:r>
                      <a:endParaRPr lang="en-US" dirty="0"/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upcoming Service now including SER provisioning 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ickets and RTASK</a:t>
                      </a:r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 will continue working on provider on the fly (POTF, POTF CSV, and Deloitte All) RWB Ad-Hoc reports in which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500 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 are to be verified</a:t>
                      </a: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inactivating and hiding duplicate provider S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71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745047"/>
              </p:ext>
            </p:extLst>
          </p:nvPr>
        </p:nvGraphicFramePr>
        <p:xfrm>
          <a:off x="12722" y="473665"/>
          <a:ext cx="12200234" cy="63291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4195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0913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58805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3638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461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3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MyChart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mpleted</a:t>
                      </a: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REQ1757713, REQ1732465. REQ1759996, REQ1750184, RTASK0440330, REQ1745506, REQ1731558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12510, REQ1755157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IM0061533: CMT: T100-12239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TASK0440458: Following up with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1067: Created CMT- T100: 122896</a:t>
                      </a:r>
                      <a:endParaRPr lang="en-US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6069:Follow up sent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30: CMT- T100: 12346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0731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1497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06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12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5005128: Email sent to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4982596; CMT: T100-123282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7880: Awaiting approval to disable open scheduling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06: Awaiting requestor response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Nova Notes triple upgrade</a:t>
                      </a:r>
                      <a:r>
                        <a:rPr lang="en-US" sz="10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 Coordinated with on-shore team and completed review of all 144 Nova Notes. Off-shore team has been working on assigned 71% of Nova notes build task to be completed by 26th sept,20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WIP-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Q: 11, INC: 02, CIM; 01, RTASK:01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Clos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9</a:t>
                      </a:r>
                      <a:endParaRPr lang="en-US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Rout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0</a:t>
                      </a:r>
                      <a:endParaRPr lang="en-US" sz="10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On Hol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0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MyChart Gold stars and Diamonds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re-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Symptom Checker &amp; E-visit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Awaiting demo call to be rescheduled.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Messaging for All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We will be discussing with Samanth on 9/23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Financ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aperless billing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Received approval from Legal &amp; Marketing team for communication letter. Call has been scheduled for 10/03 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Long-term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Hypertension Care Plan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viewing pending tasks in CMT before pursing Sub-Cab for movement to PRD.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All other items to be reviewed with leadership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ceiving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Bedsid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I discussed the education content with the ClinDoc Leadership and opened a ticket for their review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ultilingual in MyChart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The next step is to present to the Digital Steering Committee in September. Vanessa will take it from her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960011"/>
                  </a:ext>
                </a:extLst>
              </a:tr>
              <a:tr h="1847745"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have</a:t>
                      </a:r>
                      <a:r>
                        <a:rPr lang="en-US" sz="1000" b="1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2 tickets</a:t>
                      </a: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in the queue. Shared resolutions and documented in the work packet.</a:t>
                      </a:r>
                    </a:p>
                    <a:p>
                      <a:pPr marL="0" marR="0" lvl="0" indent="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a Notes Feb/May/Aug 24 project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arted with Feb/May/Aug upgrade project for nova notes owning the complete review, build and deployment. Total we have 93 nova notes for review.</a:t>
                      </a: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A2318 September SU upgrade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e have total 2 nova notes, and we have started reviewing them with Epic TS.</a:t>
                      </a: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WIP-  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1 INC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Clos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15</a:t>
                      </a:r>
                      <a:r>
                        <a:rPr lang="en-IN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I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NC, 1 ITASK, 1 RTASK, 1 CIM</a:t>
                      </a:r>
                      <a:endParaRPr lang="en-US" dirty="0"/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out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 1 INC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dirty="0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endParaRPr lang="en-US" sz="1000" dirty="0">
                        <a:solidFill>
                          <a:srgbClr val="000000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8115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4418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E7304DE9-855A-B136-ADE9-9FD1E4B926B0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297569"/>
              </p:ext>
            </p:extLst>
          </p:nvPr>
        </p:nvGraphicFramePr>
        <p:xfrm>
          <a:off x="0" y="464219"/>
          <a:ext cx="12181254" cy="63793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3646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36490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235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0529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2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5180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Clarity</a:t>
                      </a:r>
                      <a:endParaRPr lang="en-US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is working on the below tasks -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Healthy Planet – RW SQL report to run to check clinician postponing HM topic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pic User-Name crosswalk report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D Health Site – Inventory Optimization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onvert RWB extracts to SSIS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larity: RWSQL report for referral WQ</a:t>
                      </a: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needed for stats for anesthesia chart closur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ustom request/ CT exam repor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AMB clinic needs help with longterm prescription without pain agreemen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HS Population health report request </a:t>
                      </a:r>
                      <a:b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</a:b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43496 (Healthy Planet – RW SQL report to run to check clinician postponing HM topics) - In Progress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ent email to Dr CS with list of groupers with department list for review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475577 (Epic Username crosswalk report) - Testing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eed to reach back to Natasha to review updates with her to determine if this report is good with recent updates. </a:t>
                      </a:r>
                      <a:endParaRPr lang="en-US"/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331890 (BD Health Site – Inventory Optimization) - Testing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Got update from Mindy the extract looks good, team has call with BD healthsite team on friday for a working session, awaiting feedbac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411360: (Convert RWB extracts to SSIS) - In Progress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eached out to Mindy regarding the criteria session, she mentioned that she will follow upon location criteria and let us know what needs to be included.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709866: (Clarity: RWSQL report for referral WQ) – Pending customer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Awaiting user response to close the request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453128: (Report needed for stats for anesthesia chart closures) – Testing  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has been moved to PRD for final review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508233: (Custom request/ CT exam report) – In progress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Had a connect with user to get some details around this request, started building the initial query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57115: (AMB clinic needs help with longterm prescription without pain agreement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Created build in POC and will be performing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64093: (CHS Population health report request 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WIP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1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96320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4538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>
            <a:extLst>
              <a:ext uri="{FF2B5EF4-FFF2-40B4-BE49-F238E27FC236}">
                <a16:creationId xmlns:a16="http://schemas.microsoft.com/office/drawing/2014/main" id="{08AC427D-AA04-2DE6-D563-D030A9F3B211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114734"/>
              </p:ext>
            </p:extLst>
          </p:nvPr>
        </p:nvGraphicFramePr>
        <p:xfrm>
          <a:off x="0" y="471236"/>
          <a:ext cx="12200703" cy="41261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9859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23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2590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6908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6151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 Cogito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 Team currently working on the below items:</a:t>
                      </a:r>
                    </a:p>
                    <a:p>
                      <a:pPr marL="171450" indent="-171450" algn="l" rtl="0" eaLnBrk="1" fontAlgn="base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285475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Description Project): Working on changes requested by clients, Updating approved descriptions in TFS.</a:t>
                      </a: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38522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Michael's SSRS Catalog Link Project)- 341/404 completed in POC, remaining 65 Awaiting owner's review.</a:t>
                      </a:r>
                      <a:b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85 Components moved to PRD.</a:t>
                      </a:r>
                      <a:endParaRPr lang="en-US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67147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SA Parameter clean up) – 523/616 completed. Awaiting owner's review - 93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6770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SSRS Combine Duplicate Folder):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09/12: Working on disabling of 17 Link components for  Archived Reports  (555/555). 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633458 –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 slicer dicer session – 09/12: On Hold, Sherlock ticket has been raised by Monica and have reached out to Epic Support to assist  as discussed with Monica , waiting for Epic Support's  inputs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91464 (In Progress):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MT is being moved to PRD and awaiting end user feedback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74554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: Mindy sent a mail to check the availability of end user to connect and get the requirements of the request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742463: (Completed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)– Updated the Hyperlinks in the components and created CMT ticket to move to PRD. Closed the request as per the communication from Reann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ctively following up with Owners for Branding and Description work review and feedback.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.</a:t>
                      </a:r>
                      <a:endParaRPr lang="en-US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nalyzing, Following up with end user(customer) and Working on Backlog Requests which are pending from 2023 and 2024 of Sam's Queue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onitoring the Queue and Triaging the Tickets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4554 – Request for new graphing component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: 0</a:t>
                      </a: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ceived from Clarity: 0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waiting Owners review: 4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(Branding, Description &amp; SA Parameter clean up task)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 in Progress: 9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9346495"/>
                  </a:ext>
                </a:extLst>
              </a:tr>
            </a:tbl>
          </a:graphicData>
        </a:graphic>
      </p:graphicFrame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48106A3D-C011-2028-4E94-1FC5DD665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1318903"/>
              </p:ext>
            </p:extLst>
          </p:nvPr>
        </p:nvGraphicFramePr>
        <p:xfrm>
          <a:off x="11373" y="4172867"/>
          <a:ext cx="12169245" cy="1291269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1590932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1440947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1626551">
                  <a:extLst>
                    <a:ext uri="{9D8B030D-6E8A-4147-A177-3AD203B41FA5}">
                      <a16:colId xmlns:a16="http://schemas.microsoft.com/office/drawing/2014/main" val="2520556192"/>
                    </a:ext>
                  </a:extLst>
                </a:gridCol>
                <a:gridCol w="1405325">
                  <a:extLst>
                    <a:ext uri="{9D8B030D-6E8A-4147-A177-3AD203B41FA5}">
                      <a16:colId xmlns:a16="http://schemas.microsoft.com/office/drawing/2014/main" val="3927639899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2320652233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3172448152"/>
                    </a:ext>
                  </a:extLst>
                </a:gridCol>
              </a:tblGrid>
              <a:tr h="640362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port Status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____________________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Type of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turned to Deloitte/</a:t>
                      </a:r>
                    </a:p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-wor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# of Reports WIP with Deloit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Pending for Owners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  Ready to Deplo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Deployed to P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Out of Sco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Total # of Repor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37773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Description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51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89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13134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Branding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CD0D33A-8DEE-3B9D-AAFA-5A4F1BB927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350296"/>
              </p:ext>
            </p:extLst>
          </p:nvPr>
        </p:nvGraphicFramePr>
        <p:xfrm>
          <a:off x="10026" y="5514473"/>
          <a:ext cx="12169246" cy="1350965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2380686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3891402016"/>
                    </a:ext>
                  </a:extLst>
                </a:gridCol>
              </a:tblGrid>
              <a:tr h="570689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SSRS Epic Catalog Link Compon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omponent build in PO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atalog Branding chang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Completed Catalog Description chan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Updated approved Descriptions in TFS reports in this 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Cumulative Count (Overall)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55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05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Week Ending 09/26- Work Packet Status Report Count 05/9/2025</a:t>
                      </a:r>
                      <a:endParaRPr lang="en-US" sz="2000"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8038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09/26- Work Packet Status Report 07/04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687398"/>
              </p:ext>
            </p:extLst>
          </p:nvPr>
        </p:nvGraphicFramePr>
        <p:xfrm>
          <a:off x="0" y="-161393"/>
          <a:ext cx="12198094" cy="71187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24908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654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4199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644499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25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Quality Assurance</a:t>
                      </a:r>
                      <a:endParaRPr lang="en-US" sz="105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32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s part of Converge Integration Testing: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36 out of 40 Phase 1 assigned Testcases.</a:t>
                      </a:r>
                      <a:endParaRPr lang="en-US" sz="9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4 Test Cases from Phase 1 were Removed from execution as they involve Third Party Application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 42 Phase 2 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31 phase 3 test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42 Manual Run time calculation test 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44 Task Capture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reated 5 short scripts as part of Converge Integration testing suite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Review of 28 Regression Review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tandardized Documentation Proces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the Re Task Capture for 4 Test 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9 scripts of Nov24 Upgrade Regression testing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6 Testcases from 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MD Staff Regression testing 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4 Testcases from CGSM Peds Therapy IW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Manual Run Time for 24 Script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NLA Gastroenterology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Task capture of 16 scripts out of 24.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24 Upgrade Regression: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4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GSM Peds Therapy IWT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1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- 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 -Task Capture-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Manual Run time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24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LA Gastroenterology Testing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 -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 –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ompleted: 16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On Hold: 8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2708034"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>
                          <a:solidFill>
                            <a:schemeClr val="bg1"/>
                          </a:solidFill>
                          <a:latin typeface="Open Sans"/>
                        </a:rPr>
                        <a:t>Test Automatio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3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s started the pre regression testing from Monday, September 15</a:t>
                      </a:r>
                      <a:r>
                        <a:rPr lang="en-US" sz="900" b="0" i="0" u="none" strike="noStrike" kern="1200" baseline="300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h </a:t>
                      </a: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Out of 50 test cases 26 have already passed in the pre regression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d presented the automation idea on EAP (Epic all procedures) during the bi-weekly call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utomation scrum call at 8:30PM IST every Tuesday and Thur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eloitte + Internal RPA mandatory connect at 7:30Pm IST every Monday and optional connect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mecard submission at end of every Friday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gression Testing period for triple upgrade is Sept 29 – Oct 10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19094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219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635179"/>
              </p:ext>
            </p:extLst>
          </p:nvPr>
        </p:nvGraphicFramePr>
        <p:xfrm>
          <a:off x="0" y="445695"/>
          <a:ext cx="12198096" cy="90400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92017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7886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157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1496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8877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712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MT Audit Process Documentation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veloped a comprehensive document outlining the audit process for standard changes, including detailed steps, defined roles, and compliance requirements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 b="1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inor CMT Audit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gaged in team discussions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stablish the process for daily audits of minor changes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moved to PRD. Provided feedback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hance how audit analysis is communicated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to the respective application team leadership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uplicate Provider Cleanup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: Reached the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halfway mark in phase 1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of the duplicate provider cleanup, processing over 500 provider records to date.</a:t>
                      </a: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IRT Documents Review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acilitated a team review session to discuss and refine the high-level CIRT process document.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Migration SNOW Request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Resolved more than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60 DC Migration SNOW requests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, successfully sending builds through to production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Provider Maintenance &amp; SER Migration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The team ran the DC Provider maintenance report daily and migrated over 300 SER records from PRD to POC to TST throughout the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aily CMT Report &amp; Standards Audit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nsured the Daily CMT Report was executed, generated a report of Standard CMTs moved to PRD, and audited approximately 300 standards.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Increased the daily audit rate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 of standard changes moved to PRD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rom 30% to 50%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HR Sub-CAB QA Activitie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onducted quality assurance on 27 Minor, 4 Standard Candidate, 1 Emergency, and 1 Urgent CMTs and change requests for EHR Sub-CAB meetings this week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ntinue phase 1 provider cleanup by reviewing and resolving remaining SER records.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  <a:tr h="23800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8796021"/>
                  </a:ext>
                </a:extLst>
              </a:tr>
            </a:tbl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192001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0759812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738F60-A9FE-1654-1C8E-910D59D3F843}"/>
              </a:ext>
            </a:extLst>
          </p:cNvPr>
          <p:cNvGrpSpPr/>
          <p:nvPr/>
        </p:nvGrpSpPr>
        <p:grpSpPr>
          <a:xfrm>
            <a:off x="-213830" y="1085056"/>
            <a:ext cx="12619660" cy="4720548"/>
            <a:chOff x="-198085" y="1085056"/>
            <a:chExt cx="12619660" cy="4720548"/>
          </a:xfrm>
        </p:grpSpPr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9593DCDB-F8CB-49B3-9AEF-CFC9146AC87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59215597"/>
                </p:ext>
              </p:extLst>
            </p:nvPr>
          </p:nvGraphicFramePr>
          <p:xfrm>
            <a:off x="-142896" y="1145799"/>
            <a:ext cx="4601471" cy="21971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15" name="Chart 14">
              <a:extLst>
                <a:ext uri="{FF2B5EF4-FFF2-40B4-BE49-F238E27FC236}">
                  <a16:creationId xmlns:a16="http://schemas.microsoft.com/office/drawing/2014/main" id="{D48660F9-9C10-4205-B7BC-0D03B7AC07B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8404424"/>
                </p:ext>
              </p:extLst>
            </p:nvPr>
          </p:nvGraphicFramePr>
          <p:xfrm>
            <a:off x="3846196" y="3402832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1DDEC4AF-17D2-4B8F-9835-5549BC66E67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71574134"/>
                </p:ext>
              </p:extLst>
            </p:nvPr>
          </p:nvGraphicFramePr>
          <p:xfrm>
            <a:off x="7809233" y="3410340"/>
            <a:ext cx="4579171" cy="23354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8F73F8B6-D25E-47F2-BFFD-FDD187ABD36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548801993"/>
                </p:ext>
              </p:extLst>
            </p:nvPr>
          </p:nvGraphicFramePr>
          <p:xfrm>
            <a:off x="3791739" y="1098393"/>
            <a:ext cx="4689766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5" name="Chart 4">
              <a:extLst>
                <a:ext uri="{FF2B5EF4-FFF2-40B4-BE49-F238E27FC236}">
                  <a16:creationId xmlns:a16="http://schemas.microsoft.com/office/drawing/2014/main" id="{C46D6D57-59A9-252F-536D-6CFA8E67681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25631169"/>
                </p:ext>
              </p:extLst>
            </p:nvPr>
          </p:nvGraphicFramePr>
          <p:xfrm>
            <a:off x="7809233" y="1085056"/>
            <a:ext cx="4612342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666A6077-2065-0478-19D2-231E607913E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7374636"/>
                </p:ext>
              </p:extLst>
            </p:nvPr>
          </p:nvGraphicFramePr>
          <p:xfrm>
            <a:off x="-198085" y="3455169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sp>
        <p:nvSpPr>
          <p:cNvPr id="7" name="Title 8">
            <a:extLst>
              <a:ext uri="{FF2B5EF4-FFF2-40B4-BE49-F238E27FC236}">
                <a16:creationId xmlns:a16="http://schemas.microsoft.com/office/drawing/2014/main" id="{1BC6CA72-97A4-B651-D3FD-5F4F9F92BC64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</a:t>
            </a:r>
            <a:r>
              <a:rPr lang="en-US" sz="2400" b="1" dirty="0" err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hortDate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4726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FF8A9E3-6F3C-4856-9A3E-7D997EC800EF}">
  <we:reference id="412591f7-1c94-4fad-a2de-1f1a9f181c0c" version="1.0.0.1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5E5BA06A902547B72725678B9AC8F3" ma:contentTypeVersion="16" ma:contentTypeDescription="Create a new document." ma:contentTypeScope="" ma:versionID="271747c30a1d0c6f35a5932e18e305f5">
  <xsd:schema xmlns:xsd="http://www.w3.org/2001/XMLSchema" xmlns:xs="http://www.w3.org/2001/XMLSchema" xmlns:p="http://schemas.microsoft.com/office/2006/metadata/properties" xmlns:ns2="21eabdcc-72ab-4064-9f46-5100b1dc17a4" xmlns:ns3="0c8cfcba-b016-4e30-8556-6f1cb7c975af" targetNamespace="http://schemas.microsoft.com/office/2006/metadata/properties" ma:root="true" ma:fieldsID="0af4f099e4a2bd447a847ed71e35eb91" ns2:_="" ns3:_="">
    <xsd:import namespace="21eabdcc-72ab-4064-9f46-5100b1dc17a4"/>
    <xsd:import namespace="0c8cfcba-b016-4e30-8556-6f1cb7c975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eabdcc-72ab-4064-9f46-5100b1dc1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cfcba-b016-4e30-8556-6f1cb7c975a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21b69687-e3b3-42f9-8e99-a69d61ab0aa7}" ma:internalName="TaxCatchAll" ma:showField="CatchAllData" ma:web="0c8cfcba-b016-4e30-8556-6f1cb7c975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c8cfcba-b016-4e30-8556-6f1cb7c975af">
      <UserInfo>
        <DisplayName>Choudhary, Babita</DisplayName>
        <AccountId>49</AccountId>
        <AccountType/>
      </UserInfo>
    </SharedWithUsers>
    <TaxCatchAll xmlns="0c8cfcba-b016-4e30-8556-6f1cb7c975af" xsi:nil="true"/>
    <lcf76f155ced4ddcb4097134ff3c332f xmlns="21eabdcc-72ab-4064-9f46-5100b1dc17a4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A4F9743-95BA-4C12-87A3-813E241F842B}">
  <ds:schemaRefs>
    <ds:schemaRef ds:uri="0c8cfcba-b016-4e30-8556-6f1cb7c975af"/>
    <ds:schemaRef ds:uri="21eabdcc-72ab-4064-9f46-5100b1dc1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D88867B-BE9D-4D7C-80E8-0A5B242C20CF}">
  <ds:schemaRefs>
    <ds:schemaRef ds:uri="0c8cfcba-b016-4e30-8556-6f1cb7c975af"/>
    <ds:schemaRef ds:uri="21eabdcc-72ab-4064-9f46-5100b1dc1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80FE039-71A2-40B4-A75C-21F3CDB51F48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10</TotalTime>
  <Words>2680</Words>
  <Application>Microsoft Office PowerPoint</Application>
  <PresentationFormat>Widescreen</PresentationFormat>
  <Paragraphs>37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Arial,Sans-Serif</vt:lpstr>
      <vt:lpstr>Calibri</vt:lpstr>
      <vt:lpstr>Chronicle Display Black</vt:lpstr>
      <vt:lpstr>Open Sans</vt:lpstr>
      <vt:lpstr>Wingdings</vt:lpstr>
      <vt:lpstr>1_Office Theme</vt:lpstr>
      <vt:lpstr>think-cell Slide</vt:lpstr>
      <vt:lpstr>Weekly CHRISTUS Health Deloitte Build Team Status Re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 A, Hariharan</dc:creator>
  <cp:lastModifiedBy>Kumar, Akshaya</cp:lastModifiedBy>
  <cp:revision>9</cp:revision>
  <dcterms:created xsi:type="dcterms:W3CDTF">2021-09-30T10:57:45Z</dcterms:created>
  <dcterms:modified xsi:type="dcterms:W3CDTF">2025-09-21T18:4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9-30T10:57:4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7a8ca17-954c-4c13-ab1c-82ed3c92e115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BE5E5BA06A902547B72725678B9AC8F3</vt:lpwstr>
  </property>
  <property fmtid="{D5CDD505-2E9C-101B-9397-08002B2CF9AE}" pid="10" name="MediaServiceImageTags">
    <vt:lpwstr/>
  </property>
  <property fmtid="{D5CDD505-2E9C-101B-9397-08002B2CF9AE}" pid="11" name="MSIP_Label_ea60d57e-af5b-4752-ac57-3e4f28ca11dc_Tag">
    <vt:lpwstr>10, 3, 0, 2</vt:lpwstr>
  </property>
</Properties>
</file>